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  <p:sldMasterId id="2147483749" r:id="rId5"/>
  </p:sldMasterIdLst>
  <p:notesMasterIdLst>
    <p:notesMasterId r:id="rId38"/>
  </p:notesMasterIdLst>
  <p:handoutMasterIdLst>
    <p:handoutMasterId r:id="rId39"/>
  </p:handoutMasterIdLst>
  <p:sldIdLst>
    <p:sldId id="3682" r:id="rId6"/>
    <p:sldId id="3668" r:id="rId7"/>
    <p:sldId id="3696" r:id="rId8"/>
    <p:sldId id="3677" r:id="rId9"/>
    <p:sldId id="3623" r:id="rId10"/>
    <p:sldId id="3697" r:id="rId11"/>
    <p:sldId id="3590" r:id="rId12"/>
    <p:sldId id="3620" r:id="rId13"/>
    <p:sldId id="375" r:id="rId14"/>
    <p:sldId id="3591" r:id="rId15"/>
    <p:sldId id="3627" r:id="rId16"/>
    <p:sldId id="3607" r:id="rId17"/>
    <p:sldId id="3624" r:id="rId18"/>
    <p:sldId id="3600" r:id="rId19"/>
    <p:sldId id="3592" r:id="rId20"/>
    <p:sldId id="3695" r:id="rId21"/>
    <p:sldId id="3630" r:id="rId22"/>
    <p:sldId id="3699" r:id="rId23"/>
    <p:sldId id="3626" r:id="rId24"/>
    <p:sldId id="3701" r:id="rId25"/>
    <p:sldId id="373" r:id="rId26"/>
    <p:sldId id="3687" r:id="rId27"/>
    <p:sldId id="3603" r:id="rId28"/>
    <p:sldId id="3621" r:id="rId29"/>
    <p:sldId id="3691" r:id="rId30"/>
    <p:sldId id="3676" r:id="rId31"/>
    <p:sldId id="3669" r:id="rId32"/>
    <p:sldId id="3678" r:id="rId33"/>
    <p:sldId id="3686" r:id="rId34"/>
    <p:sldId id="3684" r:id="rId35"/>
    <p:sldId id="3689" r:id="rId36"/>
    <p:sldId id="3702" r:id="rId37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479AED13-87C5-304A-B786-BD6EA5EF2E0F}">
          <p14:sldIdLst>
            <p14:sldId id="3682"/>
            <p14:sldId id="3668"/>
            <p14:sldId id="3696"/>
            <p14:sldId id="3677"/>
            <p14:sldId id="3623"/>
            <p14:sldId id="3697"/>
            <p14:sldId id="3590"/>
            <p14:sldId id="3620"/>
            <p14:sldId id="375"/>
            <p14:sldId id="3591"/>
            <p14:sldId id="3627"/>
            <p14:sldId id="3607"/>
            <p14:sldId id="3624"/>
            <p14:sldId id="3600"/>
            <p14:sldId id="3592"/>
            <p14:sldId id="3695"/>
            <p14:sldId id="3630"/>
            <p14:sldId id="3699"/>
            <p14:sldId id="3626"/>
            <p14:sldId id="3701"/>
            <p14:sldId id="373"/>
            <p14:sldId id="3687"/>
          </p14:sldIdLst>
        </p14:section>
        <p14:section name="Covers" id="{BF85D06B-3FDA-DF4E-974D-CE1EAA9B160B}">
          <p14:sldIdLst/>
        </p14:section>
        <p14:section name="Dividers" id="{63AE0AE0-16EB-FF4A-94ED-1EE77CAEA878}">
          <p14:sldIdLst/>
        </p14:section>
        <p14:section name="Statements" id="{90845BC4-AB51-B041-8C95-0238AA2B7ED2}">
          <p14:sldIdLst/>
        </p14:section>
        <p14:section name="Content" id="{6B4B48CA-E6D0-CD42-9ED9-DE0CDC92A2A4}">
          <p14:sldIdLst>
            <p14:sldId id="3603"/>
            <p14:sldId id="3621"/>
            <p14:sldId id="3691"/>
            <p14:sldId id="3676"/>
            <p14:sldId id="3669"/>
            <p14:sldId id="3678"/>
            <p14:sldId id="3686"/>
          </p14:sldIdLst>
        </p14:section>
        <p14:section name="Default Section" id="{05611F42-41CD-4500-8744-CDA3F9DF3214}">
          <p14:sldIdLst>
            <p14:sldId id="3684"/>
            <p14:sldId id="3689"/>
            <p14:sldId id="37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6" userDrawn="1">
          <p15:clr>
            <a:srgbClr val="A4A3A4"/>
          </p15:clr>
        </p15:guide>
        <p15:guide id="2" orient="horz" pos="4050" userDrawn="1">
          <p15:clr>
            <a:srgbClr val="A4A3A4"/>
          </p15:clr>
        </p15:guide>
        <p15:guide id="3" orient="horz" pos="4200" userDrawn="1">
          <p15:clr>
            <a:srgbClr val="A4A3A4"/>
          </p15:clr>
        </p15:guide>
        <p15:guide id="4" pos="289" userDrawn="1">
          <p15:clr>
            <a:srgbClr val="A4A3A4"/>
          </p15:clr>
        </p15:guide>
        <p15:guide id="9" pos="2562" userDrawn="1">
          <p15:clr>
            <a:srgbClr val="A4A3A4"/>
          </p15:clr>
        </p15:guide>
        <p15:guide id="10" pos="2706" userDrawn="1">
          <p15:clr>
            <a:srgbClr val="A4A3A4"/>
          </p15:clr>
        </p15:guide>
        <p15:guide id="15" pos="4976" userDrawn="1">
          <p15:clr>
            <a:srgbClr val="A4A3A4"/>
          </p15:clr>
        </p15:guide>
        <p15:guide id="16" pos="5118" userDrawn="1">
          <p15:clr>
            <a:srgbClr val="A4A3A4"/>
          </p15:clr>
        </p15:guide>
        <p15:guide id="21" pos="7385" userDrawn="1">
          <p15:clr>
            <a:srgbClr val="A4A3A4"/>
          </p15:clr>
        </p15:guide>
        <p15:guide id="22" orient="horz" pos="842" userDrawn="1">
          <p15:clr>
            <a:srgbClr val="A4A3A4"/>
          </p15:clr>
        </p15:guide>
        <p15:guide id="25" orient="horz" pos="3931" userDrawn="1">
          <p15:clr>
            <a:srgbClr val="A4A3A4"/>
          </p15:clr>
        </p15:guide>
        <p15:guide id="26" orient="horz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5B7AFA-B21F-452A-83AF-A20CF846C450}" v="212" dt="2023-07-25T10:28:01.244"/>
    <p1510:client id="{325C667E-42ED-4135-9B97-F6C17157C320}" v="977" dt="2023-07-25T10:21:21.057"/>
    <p1510:client id="{513A3E98-3AB3-460F-83C0-F4C68D692046}" v="5" dt="2023-07-25T10:44:44.975"/>
    <p1510:client id="{54F42806-C6C4-4BFD-8C9C-D21582D7D9BF}" v="1044" vWet="1050" dt="2023-07-25T16:16:40.904"/>
    <p1510:client id="{5E9D7645-0D0F-4258-800B-FBB650DA9FA1}" v="66" dt="2023-07-25T15:24:26.121"/>
    <p1510:client id="{7684E7FA-A2A6-46F5-8FD8-F60DC5D0FBFE}" v="705" dt="2023-07-26T04:51:06.446"/>
    <p1510:client id="{7B622931-3064-4B94-B86F-9E0EC2881A7B}" v="30" dt="2023-07-25T09:21:54.610"/>
    <p1510:client id="{962311E9-36B9-42E7-940D-43D3EB9E5EC0}" v="6" dt="2023-07-25T15:57:28.845"/>
    <p1510:client id="{A6AD62BC-2D1D-40FB-92EC-5937F7E4CE8A}" v="5" dt="2023-07-25T13:59:29.163"/>
    <p1510:client id="{CA0EB642-9986-4B1B-90D4-D9FF1CCD681E}" v="150" dt="2023-07-25T13:41:05.971"/>
    <p1510:client id="{F99131A2-EBDB-412B-AC53-E87F8D301094}" v="510" dt="2023-07-25T10:27:29.5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>
        <p:guide orient="horz" pos="986"/>
        <p:guide orient="horz" pos="4050"/>
        <p:guide orient="horz" pos="4200"/>
        <p:guide pos="289"/>
        <p:guide pos="2562"/>
        <p:guide pos="2706"/>
        <p:guide pos="4976"/>
        <p:guide pos="5118"/>
        <p:guide pos="7385"/>
        <p:guide orient="horz" pos="842"/>
        <p:guide orient="horz" pos="3931"/>
        <p:guide orient="horz" pos="29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th, Raghav" userId="S::raghav.rath@providence.org::71c1033f-1830-4801-9e6b-dc24ae31a985" providerId="AD" clId="Web-{F99131A2-EBDB-412B-AC53-E87F8D301094}"/>
    <pc:docChg chg="modSld">
      <pc:chgData name="Rath, Raghav" userId="S::raghav.rath@providence.org::71c1033f-1830-4801-9e6b-dc24ae31a985" providerId="AD" clId="Web-{F99131A2-EBDB-412B-AC53-E87F8D301094}" dt="2023-07-25T10:19:23.830" v="279" actId="20577"/>
      <pc:docMkLst>
        <pc:docMk/>
      </pc:docMkLst>
      <pc:sldChg chg="addSp delSp modSp">
        <pc:chgData name="Rath, Raghav" userId="S::raghav.rath@providence.org::71c1033f-1830-4801-9e6b-dc24ae31a985" providerId="AD" clId="Web-{F99131A2-EBDB-412B-AC53-E87F8D301094}" dt="2023-07-25T10:19:23.830" v="279" actId="20577"/>
        <pc:sldMkLst>
          <pc:docMk/>
          <pc:sldMk cId="3082899506" sldId="3626"/>
        </pc:sldMkLst>
        <pc:spChg chg="add del mod">
          <ac:chgData name="Rath, Raghav" userId="S::raghav.rath@providence.org::71c1033f-1830-4801-9e6b-dc24ae31a985" providerId="AD" clId="Web-{F99131A2-EBDB-412B-AC53-E87F8D301094}" dt="2023-07-25T09:56:43.726" v="5"/>
          <ac:spMkLst>
            <pc:docMk/>
            <pc:sldMk cId="3082899506" sldId="3626"/>
            <ac:spMk id="3" creationId="{4F7D2130-7FB8-F346-5DB6-B8C71DCCCEC8}"/>
          </ac:spMkLst>
        </pc:spChg>
        <pc:spChg chg="add del mod">
          <ac:chgData name="Rath, Raghav" userId="S::raghav.rath@providence.org::71c1033f-1830-4801-9e6b-dc24ae31a985" providerId="AD" clId="Web-{F99131A2-EBDB-412B-AC53-E87F8D301094}" dt="2023-07-25T09:58:49.666" v="20"/>
          <ac:spMkLst>
            <pc:docMk/>
            <pc:sldMk cId="3082899506" sldId="3626"/>
            <ac:spMk id="6" creationId="{141440FA-3A50-0EC8-B842-2BDD4577DF0C}"/>
          </ac:spMkLst>
        </pc:spChg>
        <pc:spChg chg="mod">
          <ac:chgData name="Rath, Raghav" userId="S::raghav.rath@providence.org::71c1033f-1830-4801-9e6b-dc24ae31a985" providerId="AD" clId="Web-{F99131A2-EBDB-412B-AC53-E87F8D301094}" dt="2023-07-25T09:58:32.353" v="16" actId="1076"/>
          <ac:spMkLst>
            <pc:docMk/>
            <pc:sldMk cId="3082899506" sldId="3626"/>
            <ac:spMk id="15" creationId="{E1DA6EC6-2BA2-F0F7-A15D-796E0BDB7337}"/>
          </ac:spMkLst>
        </pc:spChg>
        <pc:spChg chg="mod">
          <ac:chgData name="Rath, Raghav" userId="S::raghav.rath@providence.org::71c1033f-1830-4801-9e6b-dc24ae31a985" providerId="AD" clId="Web-{F99131A2-EBDB-412B-AC53-E87F8D301094}" dt="2023-07-25T10:00:18.784" v="58" actId="688"/>
          <ac:spMkLst>
            <pc:docMk/>
            <pc:sldMk cId="3082899506" sldId="3626"/>
            <ac:spMk id="17" creationId="{3DD6430E-7E8E-E63A-5E93-BCA6FA914F9E}"/>
          </ac:spMkLst>
        </pc:spChg>
        <pc:spChg chg="mod">
          <ac:chgData name="Rath, Raghav" userId="S::raghav.rath@providence.org::71c1033f-1830-4801-9e6b-dc24ae31a985" providerId="AD" clId="Web-{F99131A2-EBDB-412B-AC53-E87F8D301094}" dt="2023-07-25T09:57:54.149" v="15" actId="688"/>
          <ac:spMkLst>
            <pc:docMk/>
            <pc:sldMk cId="3082899506" sldId="3626"/>
            <ac:spMk id="18" creationId="{057D7E52-67CF-0D87-972C-1A8A6C48F5BA}"/>
          </ac:spMkLst>
        </pc:spChg>
        <pc:spChg chg="mod">
          <ac:chgData name="Rath, Raghav" userId="S::raghav.rath@providence.org::71c1033f-1830-4801-9e6b-dc24ae31a985" providerId="AD" clId="Web-{F99131A2-EBDB-412B-AC53-E87F8D301094}" dt="2023-07-25T09:57:33.539" v="12" actId="20577"/>
          <ac:spMkLst>
            <pc:docMk/>
            <pc:sldMk cId="3082899506" sldId="3626"/>
            <ac:spMk id="32" creationId="{AB37FE24-0575-227C-D777-8381C22C70C7}"/>
          </ac:spMkLst>
        </pc:spChg>
        <pc:spChg chg="mod">
          <ac:chgData name="Rath, Raghav" userId="S::raghav.rath@providence.org::71c1033f-1830-4801-9e6b-dc24ae31a985" providerId="AD" clId="Web-{F99131A2-EBDB-412B-AC53-E87F8D301094}" dt="2023-07-25T10:19:23.830" v="279" actId="20577"/>
          <ac:spMkLst>
            <pc:docMk/>
            <pc:sldMk cId="3082899506" sldId="3626"/>
            <ac:spMk id="35" creationId="{74AF5699-CCF0-652A-7C2F-AFEEA8770FCA}"/>
          </ac:spMkLst>
        </pc:spChg>
        <pc:spChg chg="mod">
          <ac:chgData name="Rath, Raghav" userId="S::raghav.rath@providence.org::71c1033f-1830-4801-9e6b-dc24ae31a985" providerId="AD" clId="Web-{F99131A2-EBDB-412B-AC53-E87F8D301094}" dt="2023-07-25T10:00:43.034" v="59" actId="1076"/>
          <ac:spMkLst>
            <pc:docMk/>
            <pc:sldMk cId="3082899506" sldId="3626"/>
            <ac:spMk id="36" creationId="{F64A350E-53FC-9590-E367-F702620203B1}"/>
          </ac:spMkLst>
        </pc:spChg>
        <pc:spChg chg="mod">
          <ac:chgData name="Rath, Raghav" userId="S::raghav.rath@providence.org::71c1033f-1830-4801-9e6b-dc24ae31a985" providerId="AD" clId="Web-{F99131A2-EBDB-412B-AC53-E87F8D301094}" dt="2023-07-25T10:19:14.126" v="276" actId="20577"/>
          <ac:spMkLst>
            <pc:docMk/>
            <pc:sldMk cId="3082899506" sldId="3626"/>
            <ac:spMk id="38" creationId="{DDFA83C6-3292-3743-313B-03BF4EC71950}"/>
          </ac:spMkLst>
        </pc:spChg>
      </pc:sldChg>
      <pc:sldChg chg="addSp delSp modSp">
        <pc:chgData name="Rath, Raghav" userId="S::raghav.rath@providence.org::71c1033f-1830-4801-9e6b-dc24ae31a985" providerId="AD" clId="Web-{F99131A2-EBDB-412B-AC53-E87F8D301094}" dt="2023-07-25T10:17:20.342" v="274" actId="20577"/>
        <pc:sldMkLst>
          <pc:docMk/>
          <pc:sldMk cId="1041550661" sldId="3630"/>
        </pc:sldMkLst>
        <pc:spChg chg="add mod">
          <ac:chgData name="Rath, Raghav" userId="S::raghav.rath@providence.org::71c1033f-1830-4801-9e6b-dc24ae31a985" providerId="AD" clId="Web-{F99131A2-EBDB-412B-AC53-E87F8D301094}" dt="2023-07-25T10:17:20.342" v="274" actId="20577"/>
          <ac:spMkLst>
            <pc:docMk/>
            <pc:sldMk cId="1041550661" sldId="3630"/>
            <ac:spMk id="4" creationId="{3EB051B3-A1EC-2451-A6D0-7FEC3DDF39AA}"/>
          </ac:spMkLst>
        </pc:spChg>
        <pc:spChg chg="add del mod">
          <ac:chgData name="Rath, Raghav" userId="S::raghav.rath@providence.org::71c1033f-1830-4801-9e6b-dc24ae31a985" providerId="AD" clId="Web-{F99131A2-EBDB-412B-AC53-E87F8D301094}" dt="2023-07-25T10:09:49.768" v="138"/>
          <ac:spMkLst>
            <pc:docMk/>
            <pc:sldMk cId="1041550661" sldId="3630"/>
            <ac:spMk id="6" creationId="{B711F7D5-0A91-11B8-3466-CCC9835C41B2}"/>
          </ac:spMkLst>
        </pc:spChg>
        <pc:spChg chg="add del mod">
          <ac:chgData name="Rath, Raghav" userId="S::raghav.rath@providence.org::71c1033f-1830-4801-9e6b-dc24ae31a985" providerId="AD" clId="Web-{F99131A2-EBDB-412B-AC53-E87F8D301094}" dt="2023-07-25T10:11:39.255" v="145"/>
          <ac:spMkLst>
            <pc:docMk/>
            <pc:sldMk cId="1041550661" sldId="3630"/>
            <ac:spMk id="8" creationId="{0D4A829A-FF40-720E-3E3A-E6B72255492C}"/>
          </ac:spMkLst>
        </pc:spChg>
        <pc:spChg chg="add del mod">
          <ac:chgData name="Rath, Raghav" userId="S::raghav.rath@providence.org::71c1033f-1830-4801-9e6b-dc24ae31a985" providerId="AD" clId="Web-{F99131A2-EBDB-412B-AC53-E87F8D301094}" dt="2023-07-25T10:12:19.225" v="150"/>
          <ac:spMkLst>
            <pc:docMk/>
            <pc:sldMk cId="1041550661" sldId="3630"/>
            <ac:spMk id="10" creationId="{9473450B-580A-7588-03B2-882EE9A34DBE}"/>
          </ac:spMkLst>
        </pc:spChg>
        <pc:spChg chg="add del">
          <ac:chgData name="Rath, Raghav" userId="S::raghav.rath@providence.org::71c1033f-1830-4801-9e6b-dc24ae31a985" providerId="AD" clId="Web-{F99131A2-EBDB-412B-AC53-E87F8D301094}" dt="2023-07-25T10:12:36.663" v="152"/>
          <ac:spMkLst>
            <pc:docMk/>
            <pc:sldMk cId="1041550661" sldId="3630"/>
            <ac:spMk id="12" creationId="{F463ED5F-75FB-F42D-2B29-DB48CD9E2EED}"/>
          </ac:spMkLst>
        </pc:spChg>
        <pc:picChg chg="mod">
          <ac:chgData name="Rath, Raghav" userId="S::raghav.rath@providence.org::71c1033f-1830-4801-9e6b-dc24ae31a985" providerId="AD" clId="Web-{F99131A2-EBDB-412B-AC53-E87F8D301094}" dt="2023-07-25T10:05:43.011" v="62" actId="1076"/>
          <ac:picMkLst>
            <pc:docMk/>
            <pc:sldMk cId="1041550661" sldId="3630"/>
            <ac:picMk id="2" creationId="{786A36DD-DF06-98F7-BCB8-3274960E6B72}"/>
          </ac:picMkLst>
        </pc:picChg>
      </pc:sldChg>
    </pc:docChg>
  </pc:docChgLst>
  <pc:docChgLst>
    <pc:chgData name="Shimpi, Piyusha S" userId="0c019c91-0821-4529-9dc2-02375fba2f06" providerId="ADAL" clId="{7684E7FA-A2A6-46F5-8FD8-F60DC5D0FBFE}"/>
    <pc:docChg chg="undo redo custSel addSld delSld modSld sldOrd modSection">
      <pc:chgData name="Shimpi, Piyusha S" userId="0c019c91-0821-4529-9dc2-02375fba2f06" providerId="ADAL" clId="{7684E7FA-A2A6-46F5-8FD8-F60DC5D0FBFE}" dt="2023-07-26T06:04:17.695" v="830" actId="20577"/>
      <pc:docMkLst>
        <pc:docMk/>
      </pc:docMkLst>
      <pc:sldChg chg="addSp modSp del mod ord">
        <pc:chgData name="Shimpi, Piyusha S" userId="0c019c91-0821-4529-9dc2-02375fba2f06" providerId="ADAL" clId="{7684E7FA-A2A6-46F5-8FD8-F60DC5D0FBFE}" dt="2023-07-25T15:50:13.645" v="513" actId="47"/>
        <pc:sldMkLst>
          <pc:docMk/>
          <pc:sldMk cId="3020971480" sldId="264"/>
        </pc:sldMkLst>
        <pc:spChg chg="mod">
          <ac:chgData name="Shimpi, Piyusha S" userId="0c019c91-0821-4529-9dc2-02375fba2f06" providerId="ADAL" clId="{7684E7FA-A2A6-46F5-8FD8-F60DC5D0FBFE}" dt="2023-07-25T15:40:50.241" v="293" actId="6549"/>
          <ac:spMkLst>
            <pc:docMk/>
            <pc:sldMk cId="3020971480" sldId="264"/>
            <ac:spMk id="2" creationId="{A92CA6A2-56F6-4FD7-A43E-F4B254535FEB}"/>
          </ac:spMkLst>
        </pc:spChg>
        <pc:spChg chg="add mod">
          <ac:chgData name="Shimpi, Piyusha S" userId="0c019c91-0821-4529-9dc2-02375fba2f06" providerId="ADAL" clId="{7684E7FA-A2A6-46F5-8FD8-F60DC5D0FBFE}" dt="2023-07-25T15:43:19.236" v="354" actId="20577"/>
          <ac:spMkLst>
            <pc:docMk/>
            <pc:sldMk cId="3020971480" sldId="264"/>
            <ac:spMk id="5" creationId="{CA67C583-088D-FE58-752D-1735AFC69094}"/>
          </ac:spMkLst>
        </pc:spChg>
        <pc:spChg chg="mod">
          <ac:chgData name="Shimpi, Piyusha S" userId="0c019c91-0821-4529-9dc2-02375fba2f06" providerId="ADAL" clId="{7684E7FA-A2A6-46F5-8FD8-F60DC5D0FBFE}" dt="2023-07-25T15:48:11.971" v="499" actId="1076"/>
          <ac:spMkLst>
            <pc:docMk/>
            <pc:sldMk cId="3020971480" sldId="264"/>
            <ac:spMk id="9" creationId="{A7994932-AA13-40C2-B94B-EC62DD6E5358}"/>
          </ac:spMkLst>
        </pc:spChg>
        <pc:spChg chg="mod">
          <ac:chgData name="Shimpi, Piyusha S" userId="0c019c91-0821-4529-9dc2-02375fba2f06" providerId="ADAL" clId="{7684E7FA-A2A6-46F5-8FD8-F60DC5D0FBFE}" dt="2023-07-25T15:39:23.444" v="224" actId="207"/>
          <ac:spMkLst>
            <pc:docMk/>
            <pc:sldMk cId="3020971480" sldId="264"/>
            <ac:spMk id="35" creationId="{36E7A1C5-83C6-4706-B295-31857F160EFB}"/>
          </ac:spMkLst>
        </pc:spChg>
        <pc:spChg chg="mod">
          <ac:chgData name="Shimpi, Piyusha S" userId="0c019c91-0821-4529-9dc2-02375fba2f06" providerId="ADAL" clId="{7684E7FA-A2A6-46F5-8FD8-F60DC5D0FBFE}" dt="2023-07-25T15:41:29.124" v="301" actId="1076"/>
          <ac:spMkLst>
            <pc:docMk/>
            <pc:sldMk cId="3020971480" sldId="264"/>
            <ac:spMk id="38" creationId="{09518D7D-1430-4686-B3AA-E9A960BD1FA4}"/>
          </ac:spMkLst>
        </pc:spChg>
        <pc:spChg chg="mod">
          <ac:chgData name="Shimpi, Piyusha S" userId="0c019c91-0821-4529-9dc2-02375fba2f06" providerId="ADAL" clId="{7684E7FA-A2A6-46F5-8FD8-F60DC5D0FBFE}" dt="2023-07-25T15:40:29.713" v="262" actId="20577"/>
          <ac:spMkLst>
            <pc:docMk/>
            <pc:sldMk cId="3020971480" sldId="264"/>
            <ac:spMk id="39" creationId="{7D8EDB37-0C3C-411E-8C7D-020EFC89DF69}"/>
          </ac:spMkLst>
        </pc:spChg>
        <pc:spChg chg="mod">
          <ac:chgData name="Shimpi, Piyusha S" userId="0c019c91-0821-4529-9dc2-02375fba2f06" providerId="ADAL" clId="{7684E7FA-A2A6-46F5-8FD8-F60DC5D0FBFE}" dt="2023-07-25T15:40:38.678" v="279" actId="20577"/>
          <ac:spMkLst>
            <pc:docMk/>
            <pc:sldMk cId="3020971480" sldId="264"/>
            <ac:spMk id="40" creationId="{FA3812D2-AA89-459E-ACD0-1F86761F338B}"/>
          </ac:spMkLst>
        </pc:spChg>
        <pc:spChg chg="mod">
          <ac:chgData name="Shimpi, Piyusha S" userId="0c019c91-0821-4529-9dc2-02375fba2f06" providerId="ADAL" clId="{7684E7FA-A2A6-46F5-8FD8-F60DC5D0FBFE}" dt="2023-07-25T15:39:41.117" v="227" actId="207"/>
          <ac:spMkLst>
            <pc:docMk/>
            <pc:sldMk cId="3020971480" sldId="264"/>
            <ac:spMk id="42" creationId="{9406FCA1-537A-46F4-A0DC-755092B57E18}"/>
          </ac:spMkLst>
        </pc:spChg>
        <pc:spChg chg="mod">
          <ac:chgData name="Shimpi, Piyusha S" userId="0c019c91-0821-4529-9dc2-02375fba2f06" providerId="ADAL" clId="{7684E7FA-A2A6-46F5-8FD8-F60DC5D0FBFE}" dt="2023-07-25T15:39:57.584" v="231" actId="207"/>
          <ac:spMkLst>
            <pc:docMk/>
            <pc:sldMk cId="3020971480" sldId="264"/>
            <ac:spMk id="43" creationId="{806A4601-374B-42B7-AB3C-B3C5733FB525}"/>
          </ac:spMkLst>
        </pc:spChg>
        <pc:spChg chg="mod">
          <ac:chgData name="Shimpi, Piyusha S" userId="0c019c91-0821-4529-9dc2-02375fba2f06" providerId="ADAL" clId="{7684E7FA-A2A6-46F5-8FD8-F60DC5D0FBFE}" dt="2023-07-25T15:39:44.481" v="228" actId="207"/>
          <ac:spMkLst>
            <pc:docMk/>
            <pc:sldMk cId="3020971480" sldId="264"/>
            <ac:spMk id="44" creationId="{43162F39-1200-4F57-9695-06F5E80113DB}"/>
          </ac:spMkLst>
        </pc:spChg>
        <pc:spChg chg="mod">
          <ac:chgData name="Shimpi, Piyusha S" userId="0c019c91-0821-4529-9dc2-02375fba2f06" providerId="ADAL" clId="{7684E7FA-A2A6-46F5-8FD8-F60DC5D0FBFE}" dt="2023-07-25T15:40:01.309" v="232" actId="207"/>
          <ac:spMkLst>
            <pc:docMk/>
            <pc:sldMk cId="3020971480" sldId="264"/>
            <ac:spMk id="45" creationId="{00D4916A-0C85-405F-8594-FBBA44055590}"/>
          </ac:spMkLst>
        </pc:spChg>
        <pc:spChg chg="mod">
          <ac:chgData name="Shimpi, Piyusha S" userId="0c019c91-0821-4529-9dc2-02375fba2f06" providerId="ADAL" clId="{7684E7FA-A2A6-46F5-8FD8-F60DC5D0FBFE}" dt="2023-07-25T15:39:29.878" v="225" actId="207"/>
          <ac:spMkLst>
            <pc:docMk/>
            <pc:sldMk cId="3020971480" sldId="264"/>
            <ac:spMk id="46" creationId="{1668F909-809F-4C04-A505-87A00402015A}"/>
          </ac:spMkLst>
        </pc:spChg>
        <pc:spChg chg="mod">
          <ac:chgData name="Shimpi, Piyusha S" userId="0c019c91-0821-4529-9dc2-02375fba2f06" providerId="ADAL" clId="{7684E7FA-A2A6-46F5-8FD8-F60DC5D0FBFE}" dt="2023-07-25T15:39:53.233" v="230" actId="207"/>
          <ac:spMkLst>
            <pc:docMk/>
            <pc:sldMk cId="3020971480" sldId="264"/>
            <ac:spMk id="47" creationId="{B4E77ED6-65AD-43FB-8FED-041E831854B0}"/>
          </ac:spMkLst>
        </pc:spChg>
        <pc:spChg chg="mod">
          <ac:chgData name="Shimpi, Piyusha S" userId="0c019c91-0821-4529-9dc2-02375fba2f06" providerId="ADAL" clId="{7684E7FA-A2A6-46F5-8FD8-F60DC5D0FBFE}" dt="2023-07-25T15:39:49.813" v="229" actId="207"/>
          <ac:spMkLst>
            <pc:docMk/>
            <pc:sldMk cId="3020971480" sldId="264"/>
            <ac:spMk id="48" creationId="{7C2CC493-9EEE-42E4-8EE0-ACCA048D77FE}"/>
          </ac:spMkLst>
        </pc:spChg>
        <pc:spChg chg="mod">
          <ac:chgData name="Shimpi, Piyusha S" userId="0c019c91-0821-4529-9dc2-02375fba2f06" providerId="ADAL" clId="{7684E7FA-A2A6-46F5-8FD8-F60DC5D0FBFE}" dt="2023-07-25T15:40:04.246" v="233" actId="207"/>
          <ac:spMkLst>
            <pc:docMk/>
            <pc:sldMk cId="3020971480" sldId="264"/>
            <ac:spMk id="49" creationId="{319B3FAC-4247-4F10-902D-A412B5CFC680}"/>
          </ac:spMkLst>
        </pc:spChg>
        <pc:spChg chg="mod">
          <ac:chgData name="Shimpi, Piyusha S" userId="0c019c91-0821-4529-9dc2-02375fba2f06" providerId="ADAL" clId="{7684E7FA-A2A6-46F5-8FD8-F60DC5D0FBFE}" dt="2023-07-25T15:47:37.032" v="493" actId="1076"/>
          <ac:spMkLst>
            <pc:docMk/>
            <pc:sldMk cId="3020971480" sldId="264"/>
            <ac:spMk id="80" creationId="{B2613E71-D4B0-482B-9354-38636675B470}"/>
          </ac:spMkLst>
        </pc:spChg>
        <pc:spChg chg="mod">
          <ac:chgData name="Shimpi, Piyusha S" userId="0c019c91-0821-4529-9dc2-02375fba2f06" providerId="ADAL" clId="{7684E7FA-A2A6-46F5-8FD8-F60DC5D0FBFE}" dt="2023-07-25T15:43:45.019" v="391" actId="20577"/>
          <ac:spMkLst>
            <pc:docMk/>
            <pc:sldMk cId="3020971480" sldId="264"/>
            <ac:spMk id="81" creationId="{138EF3AE-DA73-468C-A375-20EBC4B68A19}"/>
          </ac:spMkLst>
        </pc:spChg>
        <pc:spChg chg="mod">
          <ac:chgData name="Shimpi, Piyusha S" userId="0c019c91-0821-4529-9dc2-02375fba2f06" providerId="ADAL" clId="{7684E7FA-A2A6-46F5-8FD8-F60DC5D0FBFE}" dt="2023-07-25T15:44:01.272" v="417" actId="20577"/>
          <ac:spMkLst>
            <pc:docMk/>
            <pc:sldMk cId="3020971480" sldId="264"/>
            <ac:spMk id="82" creationId="{3C86A478-FAA6-408F-B6D7-CF89D0270346}"/>
          </ac:spMkLst>
        </pc:spChg>
        <pc:spChg chg="mod">
          <ac:chgData name="Shimpi, Piyusha S" userId="0c019c91-0821-4529-9dc2-02375fba2f06" providerId="ADAL" clId="{7684E7FA-A2A6-46F5-8FD8-F60DC5D0FBFE}" dt="2023-07-25T15:45:01.298" v="472" actId="313"/>
          <ac:spMkLst>
            <pc:docMk/>
            <pc:sldMk cId="3020971480" sldId="264"/>
            <ac:spMk id="83" creationId="{C5DE92E3-DC81-4D37-85BF-4A957F345E9C}"/>
          </ac:spMkLst>
        </pc:spChg>
        <pc:spChg chg="mod">
          <ac:chgData name="Shimpi, Piyusha S" userId="0c019c91-0821-4529-9dc2-02375fba2f06" providerId="ADAL" clId="{7684E7FA-A2A6-46F5-8FD8-F60DC5D0FBFE}" dt="2023-07-25T15:44:20.867" v="429" actId="33524"/>
          <ac:spMkLst>
            <pc:docMk/>
            <pc:sldMk cId="3020971480" sldId="264"/>
            <ac:spMk id="84" creationId="{F883B438-1459-44BC-A20C-4C65BF56C181}"/>
          </ac:spMkLst>
        </pc:spChg>
        <pc:spChg chg="mod">
          <ac:chgData name="Shimpi, Piyusha S" userId="0c019c91-0821-4529-9dc2-02375fba2f06" providerId="ADAL" clId="{7684E7FA-A2A6-46F5-8FD8-F60DC5D0FBFE}" dt="2023-07-25T15:44:37.634" v="450" actId="20577"/>
          <ac:spMkLst>
            <pc:docMk/>
            <pc:sldMk cId="3020971480" sldId="264"/>
            <ac:spMk id="85" creationId="{013D2B42-2F84-4B78-9E4F-9D798792FFD9}"/>
          </ac:spMkLst>
        </pc:spChg>
        <pc:spChg chg="mod">
          <ac:chgData name="Shimpi, Piyusha S" userId="0c019c91-0821-4529-9dc2-02375fba2f06" providerId="ADAL" clId="{7684E7FA-A2A6-46F5-8FD8-F60DC5D0FBFE}" dt="2023-07-25T15:42:57.234" v="338" actId="1076"/>
          <ac:spMkLst>
            <pc:docMk/>
            <pc:sldMk cId="3020971480" sldId="264"/>
            <ac:spMk id="86" creationId="{2AEC4E7D-1958-4A32-B5D0-D83D57A4E9F5}"/>
          </ac:spMkLst>
        </pc:spChg>
        <pc:spChg chg="mod">
          <ac:chgData name="Shimpi, Piyusha S" userId="0c019c91-0821-4529-9dc2-02375fba2f06" providerId="ADAL" clId="{7684E7FA-A2A6-46F5-8FD8-F60DC5D0FBFE}" dt="2023-07-25T15:43:34.532" v="374" actId="1076"/>
          <ac:spMkLst>
            <pc:docMk/>
            <pc:sldMk cId="3020971480" sldId="264"/>
            <ac:spMk id="87" creationId="{707EF7B7-94FE-4F75-A3F5-01F29DB1C3A3}"/>
          </ac:spMkLst>
        </pc:spChg>
      </pc:sldChg>
      <pc:sldChg chg="modSp del mod">
        <pc:chgData name="Shimpi, Piyusha S" userId="0c019c91-0821-4529-9dc2-02375fba2f06" providerId="ADAL" clId="{7684E7FA-A2A6-46F5-8FD8-F60DC5D0FBFE}" dt="2023-07-25T15:51:11.809" v="518" actId="47"/>
        <pc:sldMkLst>
          <pc:docMk/>
          <pc:sldMk cId="1590900993" sldId="366"/>
        </pc:sldMkLst>
        <pc:spChg chg="mod">
          <ac:chgData name="Shimpi, Piyusha S" userId="0c019c91-0821-4529-9dc2-02375fba2f06" providerId="ADAL" clId="{7684E7FA-A2A6-46F5-8FD8-F60DC5D0FBFE}" dt="2023-07-25T14:32:09.936" v="131" actId="1076"/>
          <ac:spMkLst>
            <pc:docMk/>
            <pc:sldMk cId="1590900993" sldId="366"/>
            <ac:spMk id="7" creationId="{27C6B719-8F1A-D1D1-F3B2-25D596649267}"/>
          </ac:spMkLst>
        </pc:spChg>
        <pc:graphicFrameChg chg="mod">
          <ac:chgData name="Shimpi, Piyusha S" userId="0c019c91-0821-4529-9dc2-02375fba2f06" providerId="ADAL" clId="{7684E7FA-A2A6-46F5-8FD8-F60DC5D0FBFE}" dt="2023-07-25T14:49:58.578" v="185"/>
          <ac:graphicFrameMkLst>
            <pc:docMk/>
            <pc:sldMk cId="1590900993" sldId="366"/>
            <ac:graphicFrameMk id="3" creationId="{49D949B9-F5A6-2EB7-7653-554E4CEA8D3C}"/>
          </ac:graphicFrameMkLst>
        </pc:graphicFrameChg>
        <pc:graphicFrameChg chg="mod">
          <ac:chgData name="Shimpi, Piyusha S" userId="0c019c91-0821-4529-9dc2-02375fba2f06" providerId="ADAL" clId="{7684E7FA-A2A6-46F5-8FD8-F60DC5D0FBFE}" dt="2023-07-25T14:31:55.328" v="127" actId="1076"/>
          <ac:graphicFrameMkLst>
            <pc:docMk/>
            <pc:sldMk cId="1590900993" sldId="366"/>
            <ac:graphicFrameMk id="4" creationId="{2E928E3E-F3E4-8B07-E260-9AD260AAA76C}"/>
          </ac:graphicFrameMkLst>
        </pc:graphicFrameChg>
      </pc:sldChg>
      <pc:sldChg chg="ord">
        <pc:chgData name="Shimpi, Piyusha S" userId="0c019c91-0821-4529-9dc2-02375fba2f06" providerId="ADAL" clId="{7684E7FA-A2A6-46F5-8FD8-F60DC5D0FBFE}" dt="2023-07-25T13:03:22.187" v="33"/>
        <pc:sldMkLst>
          <pc:docMk/>
          <pc:sldMk cId="4206793325" sldId="3591"/>
        </pc:sldMkLst>
      </pc:sldChg>
      <pc:sldChg chg="modSp mod">
        <pc:chgData name="Shimpi, Piyusha S" userId="0c019c91-0821-4529-9dc2-02375fba2f06" providerId="ADAL" clId="{7684E7FA-A2A6-46F5-8FD8-F60DC5D0FBFE}" dt="2023-07-25T16:17:57.205" v="595" actId="1076"/>
        <pc:sldMkLst>
          <pc:docMk/>
          <pc:sldMk cId="176983750" sldId="3592"/>
        </pc:sldMkLst>
        <pc:spChg chg="mod">
          <ac:chgData name="Shimpi, Piyusha S" userId="0c019c91-0821-4529-9dc2-02375fba2f06" providerId="ADAL" clId="{7684E7FA-A2A6-46F5-8FD8-F60DC5D0FBFE}" dt="2023-07-25T16:17:57.205" v="595" actId="1076"/>
          <ac:spMkLst>
            <pc:docMk/>
            <pc:sldMk cId="176983750" sldId="3592"/>
            <ac:spMk id="7" creationId="{B954E858-C7E7-3D45-9BFA-1781D04D9B6F}"/>
          </ac:spMkLst>
        </pc:spChg>
      </pc:sldChg>
      <pc:sldChg chg="ord">
        <pc:chgData name="Shimpi, Piyusha S" userId="0c019c91-0821-4529-9dc2-02375fba2f06" providerId="ADAL" clId="{7684E7FA-A2A6-46F5-8FD8-F60DC5D0FBFE}" dt="2023-07-25T13:02:25.482" v="15"/>
        <pc:sldMkLst>
          <pc:docMk/>
          <pc:sldMk cId="681187675" sldId="3613"/>
        </pc:sldMkLst>
      </pc:sldChg>
      <pc:sldChg chg="modSp mod">
        <pc:chgData name="Shimpi, Piyusha S" userId="0c019c91-0821-4529-9dc2-02375fba2f06" providerId="ADAL" clId="{7684E7FA-A2A6-46F5-8FD8-F60DC5D0FBFE}" dt="2023-07-25T14:56:44.671" v="211"/>
        <pc:sldMkLst>
          <pc:docMk/>
          <pc:sldMk cId="565577296" sldId="3623"/>
        </pc:sldMkLst>
        <pc:spChg chg="mod">
          <ac:chgData name="Shimpi, Piyusha S" userId="0c019c91-0821-4529-9dc2-02375fba2f06" providerId="ADAL" clId="{7684E7FA-A2A6-46F5-8FD8-F60DC5D0FBFE}" dt="2023-07-25T13:48:46.723" v="66" actId="1076"/>
          <ac:spMkLst>
            <pc:docMk/>
            <pc:sldMk cId="565577296" sldId="3623"/>
            <ac:spMk id="7" creationId="{D2E4AF7E-AAED-8978-EC0D-7F66F89D3154}"/>
          </ac:spMkLst>
        </pc:spChg>
        <pc:spChg chg="mod">
          <ac:chgData name="Shimpi, Piyusha S" userId="0c019c91-0821-4529-9dc2-02375fba2f06" providerId="ADAL" clId="{7684E7FA-A2A6-46F5-8FD8-F60DC5D0FBFE}" dt="2023-07-25T13:48:51.072" v="67" actId="1076"/>
          <ac:spMkLst>
            <pc:docMk/>
            <pc:sldMk cId="565577296" sldId="3623"/>
            <ac:spMk id="16" creationId="{1F50CA57-62EA-6F61-97CD-D7BE0D21B374}"/>
          </ac:spMkLst>
        </pc:spChg>
        <pc:spChg chg="mod">
          <ac:chgData name="Shimpi, Piyusha S" userId="0c019c91-0821-4529-9dc2-02375fba2f06" providerId="ADAL" clId="{7684E7FA-A2A6-46F5-8FD8-F60DC5D0FBFE}" dt="2023-07-25T13:48:41.304" v="65" actId="1076"/>
          <ac:spMkLst>
            <pc:docMk/>
            <pc:sldMk cId="565577296" sldId="3623"/>
            <ac:spMk id="1085" creationId="{5F2F0D4A-7DEE-4EA9-822C-7A91555E6497}"/>
          </ac:spMkLst>
        </pc:spChg>
        <pc:grpChg chg="mod">
          <ac:chgData name="Shimpi, Piyusha S" userId="0c019c91-0821-4529-9dc2-02375fba2f06" providerId="ADAL" clId="{7684E7FA-A2A6-46F5-8FD8-F60DC5D0FBFE}" dt="2023-07-25T13:48:32.929" v="64" actId="1076"/>
          <ac:grpSpMkLst>
            <pc:docMk/>
            <pc:sldMk cId="565577296" sldId="3623"/>
            <ac:grpSpMk id="9" creationId="{53362CBF-5730-C7DF-E9D6-0EC39F1D6DD2}"/>
          </ac:grpSpMkLst>
        </pc:grpChg>
        <pc:graphicFrameChg chg="mod">
          <ac:chgData name="Shimpi, Piyusha S" userId="0c019c91-0821-4529-9dc2-02375fba2f06" providerId="ADAL" clId="{7684E7FA-A2A6-46F5-8FD8-F60DC5D0FBFE}" dt="2023-07-25T14:56:44.671" v="211"/>
          <ac:graphicFrameMkLst>
            <pc:docMk/>
            <pc:sldMk cId="565577296" sldId="3623"/>
            <ac:graphicFrameMk id="14" creationId="{784E2B94-0ADA-4D5C-431D-86319FC4B7FC}"/>
          </ac:graphicFrameMkLst>
        </pc:graphicFrameChg>
      </pc:sldChg>
      <pc:sldChg chg="modSp mod">
        <pc:chgData name="Shimpi, Piyusha S" userId="0c019c91-0821-4529-9dc2-02375fba2f06" providerId="ADAL" clId="{7684E7FA-A2A6-46F5-8FD8-F60DC5D0FBFE}" dt="2023-07-25T17:27:56.497" v="659" actId="1076"/>
        <pc:sldMkLst>
          <pc:docMk/>
          <pc:sldMk cId="3082899506" sldId="3626"/>
        </pc:sldMkLst>
        <pc:spChg chg="mod">
          <ac:chgData name="Shimpi, Piyusha S" userId="0c019c91-0821-4529-9dc2-02375fba2f06" providerId="ADAL" clId="{7684E7FA-A2A6-46F5-8FD8-F60DC5D0FBFE}" dt="2023-07-25T17:27:56.497" v="659" actId="1076"/>
          <ac:spMkLst>
            <pc:docMk/>
            <pc:sldMk cId="3082899506" sldId="3626"/>
            <ac:spMk id="2" creationId="{04B34F4E-4EF8-EC0E-6EC6-A359D2E9AA12}"/>
          </ac:spMkLst>
        </pc:spChg>
        <pc:spChg chg="mod">
          <ac:chgData name="Shimpi, Piyusha S" userId="0c019c91-0821-4529-9dc2-02375fba2f06" providerId="ADAL" clId="{7684E7FA-A2A6-46F5-8FD8-F60DC5D0FBFE}" dt="2023-07-25T17:17:02.922" v="658" actId="1076"/>
          <ac:spMkLst>
            <pc:docMk/>
            <pc:sldMk cId="3082899506" sldId="3626"/>
            <ac:spMk id="15" creationId="{E1DA6EC6-2BA2-F0F7-A15D-796E0BDB7337}"/>
          </ac:spMkLst>
        </pc:spChg>
        <pc:spChg chg="mod">
          <ac:chgData name="Shimpi, Piyusha S" userId="0c019c91-0821-4529-9dc2-02375fba2f06" providerId="ADAL" clId="{7684E7FA-A2A6-46F5-8FD8-F60DC5D0FBFE}" dt="2023-07-25T13:47:32.110" v="42" actId="1076"/>
          <ac:spMkLst>
            <pc:docMk/>
            <pc:sldMk cId="3082899506" sldId="3626"/>
            <ac:spMk id="35" creationId="{74AF5699-CCF0-652A-7C2F-AFEEA8770FCA}"/>
          </ac:spMkLst>
        </pc:spChg>
        <pc:spChg chg="mod">
          <ac:chgData name="Shimpi, Piyusha S" userId="0c019c91-0821-4529-9dc2-02375fba2f06" providerId="ADAL" clId="{7684E7FA-A2A6-46F5-8FD8-F60DC5D0FBFE}" dt="2023-07-25T14:06:46.515" v="68" actId="1076"/>
          <ac:spMkLst>
            <pc:docMk/>
            <pc:sldMk cId="3082899506" sldId="3626"/>
            <ac:spMk id="36" creationId="{F64A350E-53FC-9590-E367-F702620203B1}"/>
          </ac:spMkLst>
        </pc:spChg>
        <pc:spChg chg="mod">
          <ac:chgData name="Shimpi, Piyusha S" userId="0c019c91-0821-4529-9dc2-02375fba2f06" providerId="ADAL" clId="{7684E7FA-A2A6-46F5-8FD8-F60DC5D0FBFE}" dt="2023-07-25T13:46:55.608" v="38" actId="1076"/>
          <ac:spMkLst>
            <pc:docMk/>
            <pc:sldMk cId="3082899506" sldId="3626"/>
            <ac:spMk id="38" creationId="{DDFA83C6-3292-3743-313B-03BF4EC71950}"/>
          </ac:spMkLst>
        </pc:spChg>
        <pc:spChg chg="mod">
          <ac:chgData name="Shimpi, Piyusha S" userId="0c019c91-0821-4529-9dc2-02375fba2f06" providerId="ADAL" clId="{7684E7FA-A2A6-46F5-8FD8-F60DC5D0FBFE}" dt="2023-07-25T14:07:11.111" v="70" actId="1076"/>
          <ac:spMkLst>
            <pc:docMk/>
            <pc:sldMk cId="3082899506" sldId="3626"/>
            <ac:spMk id="71" creationId="{068BAFFA-5F9F-B354-E5E9-5738771D457A}"/>
          </ac:spMkLst>
        </pc:spChg>
        <pc:grpChg chg="mod">
          <ac:chgData name="Shimpi, Piyusha S" userId="0c019c91-0821-4529-9dc2-02375fba2f06" providerId="ADAL" clId="{7684E7FA-A2A6-46F5-8FD8-F60DC5D0FBFE}" dt="2023-07-25T14:06:59.768" v="69" actId="1076"/>
          <ac:grpSpMkLst>
            <pc:docMk/>
            <pc:sldMk cId="3082899506" sldId="3626"/>
            <ac:grpSpMk id="8" creationId="{9E36FE9D-B92C-1F45-E15C-EA1F1DABA701}"/>
          </ac:grpSpMkLst>
        </pc:grpChg>
      </pc:sldChg>
      <pc:sldChg chg="modSp">
        <pc:chgData name="Shimpi, Piyusha S" userId="0c019c91-0821-4529-9dc2-02375fba2f06" providerId="ADAL" clId="{7684E7FA-A2A6-46F5-8FD8-F60DC5D0FBFE}" dt="2023-07-25T17:33:11.656" v="660" actId="1076"/>
        <pc:sldMkLst>
          <pc:docMk/>
          <pc:sldMk cId="1041550661" sldId="3630"/>
        </pc:sldMkLst>
        <pc:picChg chg="mod">
          <ac:chgData name="Shimpi, Piyusha S" userId="0c019c91-0821-4529-9dc2-02375fba2f06" providerId="ADAL" clId="{7684E7FA-A2A6-46F5-8FD8-F60DC5D0FBFE}" dt="2023-07-25T17:33:11.656" v="660" actId="1076"/>
          <ac:picMkLst>
            <pc:docMk/>
            <pc:sldMk cId="1041550661" sldId="3630"/>
            <ac:picMk id="2" creationId="{786A36DD-DF06-98F7-BCB8-3274960E6B72}"/>
          </ac:picMkLst>
        </pc:picChg>
      </pc:sldChg>
      <pc:sldChg chg="modSp mod">
        <pc:chgData name="Shimpi, Piyusha S" userId="0c019c91-0821-4529-9dc2-02375fba2f06" providerId="ADAL" clId="{7684E7FA-A2A6-46F5-8FD8-F60DC5D0FBFE}" dt="2023-07-26T06:04:17.695" v="830" actId="20577"/>
        <pc:sldMkLst>
          <pc:docMk/>
          <pc:sldMk cId="3288433710" sldId="3668"/>
        </pc:sldMkLst>
        <pc:spChg chg="mod">
          <ac:chgData name="Shimpi, Piyusha S" userId="0c019c91-0821-4529-9dc2-02375fba2f06" providerId="ADAL" clId="{7684E7FA-A2A6-46F5-8FD8-F60DC5D0FBFE}" dt="2023-07-26T06:04:17.695" v="830" actId="20577"/>
          <ac:spMkLst>
            <pc:docMk/>
            <pc:sldMk cId="3288433710" sldId="3668"/>
            <ac:spMk id="2" creationId="{9A7983BD-92D8-A770-7824-C5E1F25185A1}"/>
          </ac:spMkLst>
        </pc:spChg>
      </pc:sldChg>
      <pc:sldChg chg="ord">
        <pc:chgData name="Shimpi, Piyusha S" userId="0c019c91-0821-4529-9dc2-02375fba2f06" providerId="ADAL" clId="{7684E7FA-A2A6-46F5-8FD8-F60DC5D0FBFE}" dt="2023-07-25T13:01:44.918" v="11"/>
        <pc:sldMkLst>
          <pc:docMk/>
          <pc:sldMk cId="1914518731" sldId="3677"/>
        </pc:sldMkLst>
      </pc:sldChg>
      <pc:sldChg chg="ord">
        <pc:chgData name="Shimpi, Piyusha S" userId="0c019c91-0821-4529-9dc2-02375fba2f06" providerId="ADAL" clId="{7684E7FA-A2A6-46F5-8FD8-F60DC5D0FBFE}" dt="2023-07-25T15:51:21.266" v="522"/>
        <pc:sldMkLst>
          <pc:docMk/>
          <pc:sldMk cId="400507667" sldId="3682"/>
        </pc:sldMkLst>
      </pc:sldChg>
      <pc:sldChg chg="modSp mod">
        <pc:chgData name="Shimpi, Piyusha S" userId="0c019c91-0821-4529-9dc2-02375fba2f06" providerId="ADAL" clId="{7684E7FA-A2A6-46F5-8FD8-F60DC5D0FBFE}" dt="2023-07-25T13:04:10.619" v="35" actId="14100"/>
        <pc:sldMkLst>
          <pc:docMk/>
          <pc:sldMk cId="1116620279" sldId="3688"/>
        </pc:sldMkLst>
        <pc:picChg chg="mod">
          <ac:chgData name="Shimpi, Piyusha S" userId="0c019c91-0821-4529-9dc2-02375fba2f06" providerId="ADAL" clId="{7684E7FA-A2A6-46F5-8FD8-F60DC5D0FBFE}" dt="2023-07-25T13:04:10.619" v="35" actId="14100"/>
          <ac:picMkLst>
            <pc:docMk/>
            <pc:sldMk cId="1116620279" sldId="3688"/>
            <ac:picMk id="17" creationId="{B50CB2C7-2A7C-0F29-F734-BFD94CA37407}"/>
          </ac:picMkLst>
        </pc:picChg>
      </pc:sldChg>
      <pc:sldChg chg="addSp delSp modSp mod ord modShow">
        <pc:chgData name="Shimpi, Piyusha S" userId="0c019c91-0821-4529-9dc2-02375fba2f06" providerId="ADAL" clId="{7684E7FA-A2A6-46F5-8FD8-F60DC5D0FBFE}" dt="2023-07-25T17:07:46.393" v="617" actId="1076"/>
        <pc:sldMkLst>
          <pc:docMk/>
          <pc:sldMk cId="3225873929" sldId="3689"/>
        </pc:sldMkLst>
        <pc:spChg chg="add del">
          <ac:chgData name="Shimpi, Piyusha S" userId="0c019c91-0821-4529-9dc2-02375fba2f06" providerId="ADAL" clId="{7684E7FA-A2A6-46F5-8FD8-F60DC5D0FBFE}" dt="2023-07-25T17:07:45.327" v="616" actId="478"/>
          <ac:spMkLst>
            <pc:docMk/>
            <pc:sldMk cId="3225873929" sldId="3689"/>
            <ac:spMk id="7" creationId="{048EBA06-EB81-100E-9CF3-C17A6EDAA5D8}"/>
          </ac:spMkLst>
        </pc:spChg>
        <pc:spChg chg="mod">
          <ac:chgData name="Shimpi, Piyusha S" userId="0c019c91-0821-4529-9dc2-02375fba2f06" providerId="ADAL" clId="{7684E7FA-A2A6-46F5-8FD8-F60DC5D0FBFE}" dt="2023-07-25T17:07:46.393" v="617" actId="1076"/>
          <ac:spMkLst>
            <pc:docMk/>
            <pc:sldMk cId="3225873929" sldId="3689"/>
            <ac:spMk id="9" creationId="{BF27A660-FD3E-FAE5-CB85-19AB7ED82680}"/>
          </ac:spMkLst>
        </pc:spChg>
        <pc:graphicFrameChg chg="add del">
          <ac:chgData name="Shimpi, Piyusha S" userId="0c019c91-0821-4529-9dc2-02375fba2f06" providerId="ADAL" clId="{7684E7FA-A2A6-46F5-8FD8-F60DC5D0FBFE}" dt="2023-07-25T17:07:43.798" v="614" actId="478"/>
          <ac:graphicFrameMkLst>
            <pc:docMk/>
            <pc:sldMk cId="3225873929" sldId="3689"/>
            <ac:graphicFrameMk id="16" creationId="{04984B79-A3E0-C8B7-FE4A-DC3110B360C9}"/>
          </ac:graphicFrameMkLst>
        </pc:graphicFrameChg>
      </pc:sldChg>
      <pc:sldChg chg="mod modShow">
        <pc:chgData name="Shimpi, Piyusha S" userId="0c019c91-0821-4529-9dc2-02375fba2f06" providerId="ADAL" clId="{7684E7FA-A2A6-46F5-8FD8-F60DC5D0FBFE}" dt="2023-07-25T17:06:46.970" v="609" actId="729"/>
        <pc:sldMkLst>
          <pc:docMk/>
          <pc:sldMk cId="2235712506" sldId="3691"/>
        </pc:sldMkLst>
      </pc:sldChg>
      <pc:sldChg chg="del">
        <pc:chgData name="Shimpi, Piyusha S" userId="0c019c91-0821-4529-9dc2-02375fba2f06" providerId="ADAL" clId="{7684E7FA-A2A6-46F5-8FD8-F60DC5D0FBFE}" dt="2023-07-25T15:51:16.179" v="520" actId="47"/>
        <pc:sldMkLst>
          <pc:docMk/>
          <pc:sldMk cId="2421048366" sldId="3693"/>
        </pc:sldMkLst>
      </pc:sldChg>
      <pc:sldChg chg="delSp modSp add del mod">
        <pc:chgData name="Shimpi, Piyusha S" userId="0c019c91-0821-4529-9dc2-02375fba2f06" providerId="ADAL" clId="{7684E7FA-A2A6-46F5-8FD8-F60DC5D0FBFE}" dt="2023-07-25T15:42:26.257" v="307" actId="47"/>
        <pc:sldMkLst>
          <pc:docMk/>
          <pc:sldMk cId="1311362995" sldId="3694"/>
        </pc:sldMkLst>
        <pc:spChg chg="del">
          <ac:chgData name="Shimpi, Piyusha S" userId="0c019c91-0821-4529-9dc2-02375fba2f06" providerId="ADAL" clId="{7684E7FA-A2A6-46F5-8FD8-F60DC5D0FBFE}" dt="2023-07-25T14:10:05.411" v="79" actId="478"/>
          <ac:spMkLst>
            <pc:docMk/>
            <pc:sldMk cId="1311362995" sldId="3694"/>
            <ac:spMk id="7" creationId="{048EBA06-EB81-100E-9CF3-C17A6EDAA5D8}"/>
          </ac:spMkLst>
        </pc:spChg>
        <pc:graphicFrameChg chg="del">
          <ac:chgData name="Shimpi, Piyusha S" userId="0c019c91-0821-4529-9dc2-02375fba2f06" providerId="ADAL" clId="{7684E7FA-A2A6-46F5-8FD8-F60DC5D0FBFE}" dt="2023-07-25T14:09:46.148" v="74" actId="478"/>
          <ac:graphicFrameMkLst>
            <pc:docMk/>
            <pc:sldMk cId="1311362995" sldId="3694"/>
            <ac:graphicFrameMk id="14" creationId="{29FBC60E-2242-5584-6789-9E009A8C361C}"/>
          </ac:graphicFrameMkLst>
        </pc:graphicFrameChg>
        <pc:graphicFrameChg chg="del mod">
          <ac:chgData name="Shimpi, Piyusha S" userId="0c019c91-0821-4529-9dc2-02375fba2f06" providerId="ADAL" clId="{7684E7FA-A2A6-46F5-8FD8-F60DC5D0FBFE}" dt="2023-07-25T14:09:58.856" v="78" actId="478"/>
          <ac:graphicFrameMkLst>
            <pc:docMk/>
            <pc:sldMk cId="1311362995" sldId="3694"/>
            <ac:graphicFrameMk id="16" creationId="{04984B79-A3E0-C8B7-FE4A-DC3110B360C9}"/>
          </ac:graphicFrameMkLst>
        </pc:graphicFrameChg>
        <pc:graphicFrameChg chg="del">
          <ac:chgData name="Shimpi, Piyusha S" userId="0c019c91-0821-4529-9dc2-02375fba2f06" providerId="ADAL" clId="{7684E7FA-A2A6-46F5-8FD8-F60DC5D0FBFE}" dt="2023-07-25T14:09:55.746" v="76" actId="478"/>
          <ac:graphicFrameMkLst>
            <pc:docMk/>
            <pc:sldMk cId="1311362995" sldId="3694"/>
            <ac:graphicFrameMk id="20" creationId="{ACCE8555-74B7-43A2-E8A4-BB2A1473667F}"/>
          </ac:graphicFrameMkLst>
        </pc:graphicFrameChg>
        <pc:graphicFrameChg chg="del">
          <ac:chgData name="Shimpi, Piyusha S" userId="0c019c91-0821-4529-9dc2-02375fba2f06" providerId="ADAL" clId="{7684E7FA-A2A6-46F5-8FD8-F60DC5D0FBFE}" dt="2023-07-25T14:09:51.063" v="75" actId="478"/>
          <ac:graphicFrameMkLst>
            <pc:docMk/>
            <pc:sldMk cId="1311362995" sldId="3694"/>
            <ac:graphicFrameMk id="22" creationId="{A9C7946C-6035-E350-FEFF-63B98EBAD4A0}"/>
          </ac:graphicFrameMkLst>
        </pc:graphicFrameChg>
        <pc:picChg chg="mod">
          <ac:chgData name="Shimpi, Piyusha S" userId="0c019c91-0821-4529-9dc2-02375fba2f06" providerId="ADAL" clId="{7684E7FA-A2A6-46F5-8FD8-F60DC5D0FBFE}" dt="2023-07-25T14:09:42.160" v="73" actId="1076"/>
          <ac:picMkLst>
            <pc:docMk/>
            <pc:sldMk cId="1311362995" sldId="3694"/>
            <ac:picMk id="1030" creationId="{60B18B1D-1B6E-06C9-8D38-5D386CB140CA}"/>
          </ac:picMkLst>
        </pc:picChg>
        <pc:picChg chg="mod">
          <ac:chgData name="Shimpi, Piyusha S" userId="0c019c91-0821-4529-9dc2-02375fba2f06" providerId="ADAL" clId="{7684E7FA-A2A6-46F5-8FD8-F60DC5D0FBFE}" dt="2023-07-25T14:09:40.607" v="72" actId="1076"/>
          <ac:picMkLst>
            <pc:docMk/>
            <pc:sldMk cId="1311362995" sldId="3694"/>
            <ac:picMk id="3074" creationId="{8092548F-3286-17AE-99D6-18DA291A7366}"/>
          </ac:picMkLst>
        </pc:picChg>
      </pc:sldChg>
      <pc:sldChg chg="addSp delSp modSp mod">
        <pc:chgData name="Shimpi, Piyusha S" userId="0c019c91-0821-4529-9dc2-02375fba2f06" providerId="ADAL" clId="{7684E7FA-A2A6-46F5-8FD8-F60DC5D0FBFE}" dt="2023-07-26T05:58:21.601" v="815" actId="1076"/>
        <pc:sldMkLst>
          <pc:docMk/>
          <pc:sldMk cId="1172344262" sldId="3695"/>
        </pc:sldMkLst>
        <pc:spChg chg="mod">
          <ac:chgData name="Shimpi, Piyusha S" userId="0c019c91-0821-4529-9dc2-02375fba2f06" providerId="ADAL" clId="{7684E7FA-A2A6-46F5-8FD8-F60DC5D0FBFE}" dt="2023-07-26T05:58:21.601" v="815" actId="1076"/>
          <ac:spMkLst>
            <pc:docMk/>
            <pc:sldMk cId="1172344262" sldId="3695"/>
            <ac:spMk id="2" creationId="{805D7EBA-D99F-33AA-8E88-0E2B0034FBBF}"/>
          </ac:spMkLst>
        </pc:spChg>
        <pc:spChg chg="mod">
          <ac:chgData name="Shimpi, Piyusha S" userId="0c019c91-0821-4529-9dc2-02375fba2f06" providerId="ADAL" clId="{7684E7FA-A2A6-46F5-8FD8-F60DC5D0FBFE}" dt="2023-07-25T13:48:03.561" v="63" actId="20577"/>
          <ac:spMkLst>
            <pc:docMk/>
            <pc:sldMk cId="1172344262" sldId="3695"/>
            <ac:spMk id="3" creationId="{9057E977-7BE5-0847-915E-FE271C101DBE}"/>
          </ac:spMkLst>
        </pc:spChg>
        <pc:spChg chg="mod">
          <ac:chgData name="Shimpi, Piyusha S" userId="0c019c91-0821-4529-9dc2-02375fba2f06" providerId="ADAL" clId="{7684E7FA-A2A6-46F5-8FD8-F60DC5D0FBFE}" dt="2023-07-26T05:58:18.807" v="814" actId="1076"/>
          <ac:spMkLst>
            <pc:docMk/>
            <pc:sldMk cId="1172344262" sldId="3695"/>
            <ac:spMk id="6" creationId="{E05400EB-FAA3-FD2D-961E-BE09CADE3E25}"/>
          </ac:spMkLst>
        </pc:spChg>
        <pc:spChg chg="mod">
          <ac:chgData name="Shimpi, Piyusha S" userId="0c019c91-0821-4529-9dc2-02375fba2f06" providerId="ADAL" clId="{7684E7FA-A2A6-46F5-8FD8-F60DC5D0FBFE}" dt="2023-07-25T16:14:21.460" v="592" actId="1076"/>
          <ac:spMkLst>
            <pc:docMk/>
            <pc:sldMk cId="1172344262" sldId="3695"/>
            <ac:spMk id="9" creationId="{1D909D3D-1D12-6BE0-1E70-B9B6C6F1E923}"/>
          </ac:spMkLst>
        </pc:spChg>
        <pc:spChg chg="add mod">
          <ac:chgData name="Shimpi, Piyusha S" userId="0c019c91-0821-4529-9dc2-02375fba2f06" providerId="ADAL" clId="{7684E7FA-A2A6-46F5-8FD8-F60DC5D0FBFE}" dt="2023-07-26T05:48:53.842" v="805" actId="164"/>
          <ac:spMkLst>
            <pc:docMk/>
            <pc:sldMk cId="1172344262" sldId="3695"/>
            <ac:spMk id="16" creationId="{F4330D1C-6232-D396-FBFD-7B796B3BC06F}"/>
          </ac:spMkLst>
        </pc:spChg>
        <pc:grpChg chg="add mod">
          <ac:chgData name="Shimpi, Piyusha S" userId="0c019c91-0821-4529-9dc2-02375fba2f06" providerId="ADAL" clId="{7684E7FA-A2A6-46F5-8FD8-F60DC5D0FBFE}" dt="2023-07-26T05:48:56.717" v="806" actId="1076"/>
          <ac:grpSpMkLst>
            <pc:docMk/>
            <pc:sldMk cId="1172344262" sldId="3695"/>
            <ac:grpSpMk id="18" creationId="{75237364-F4B1-A98F-C02A-78683EEBEFD7}"/>
          </ac:grpSpMkLst>
        </pc:grpChg>
        <pc:graphicFrameChg chg="add del mod">
          <ac:chgData name="Shimpi, Piyusha S" userId="0c019c91-0821-4529-9dc2-02375fba2f06" providerId="ADAL" clId="{7684E7FA-A2A6-46F5-8FD8-F60DC5D0FBFE}" dt="2023-07-26T05:47:35.627" v="774"/>
          <ac:graphicFrameMkLst>
            <pc:docMk/>
            <pc:sldMk cId="1172344262" sldId="3695"/>
            <ac:graphicFrameMk id="12" creationId="{DC62EC9F-6385-198A-0065-69B89480D23C}"/>
          </ac:graphicFrameMkLst>
        </pc:graphicFrameChg>
        <pc:graphicFrameChg chg="add del mod">
          <ac:chgData name="Shimpi, Piyusha S" userId="0c019c91-0821-4529-9dc2-02375fba2f06" providerId="ADAL" clId="{7684E7FA-A2A6-46F5-8FD8-F60DC5D0FBFE}" dt="2023-07-26T05:47:59.265" v="776"/>
          <ac:graphicFrameMkLst>
            <pc:docMk/>
            <pc:sldMk cId="1172344262" sldId="3695"/>
            <ac:graphicFrameMk id="14" creationId="{8C9CE6D4-EAEC-EC11-AB8F-BF6258812F50}"/>
          </ac:graphicFrameMkLst>
        </pc:graphicFrameChg>
        <pc:picChg chg="del">
          <ac:chgData name="Shimpi, Piyusha S" userId="0c019c91-0821-4529-9dc2-02375fba2f06" providerId="ADAL" clId="{7684E7FA-A2A6-46F5-8FD8-F60DC5D0FBFE}" dt="2023-07-26T05:32:24.015" v="762" actId="478"/>
          <ac:picMkLst>
            <pc:docMk/>
            <pc:sldMk cId="1172344262" sldId="3695"/>
            <ac:picMk id="8" creationId="{8F9ADFD7-2325-CED6-BC3F-B839FEA5F304}"/>
          </ac:picMkLst>
        </pc:picChg>
        <pc:picChg chg="add mod">
          <ac:chgData name="Shimpi, Piyusha S" userId="0c019c91-0821-4529-9dc2-02375fba2f06" providerId="ADAL" clId="{7684E7FA-A2A6-46F5-8FD8-F60DC5D0FBFE}" dt="2023-07-26T05:35:51.359" v="766" actId="962"/>
          <ac:picMkLst>
            <pc:docMk/>
            <pc:sldMk cId="1172344262" sldId="3695"/>
            <ac:picMk id="11" creationId="{1B412366-44D1-7B04-677D-70BAA7EC547A}"/>
          </ac:picMkLst>
        </pc:picChg>
        <pc:picChg chg="del mod">
          <ac:chgData name="Shimpi, Piyusha S" userId="0c019c91-0821-4529-9dc2-02375fba2f06" providerId="ADAL" clId="{7684E7FA-A2A6-46F5-8FD8-F60DC5D0FBFE}" dt="2023-07-26T05:47:26.027" v="768" actId="478"/>
          <ac:picMkLst>
            <pc:docMk/>
            <pc:sldMk cId="1172344262" sldId="3695"/>
            <ac:picMk id="13" creationId="{E2ECDDAB-E505-4A41-DE09-771B9FA246DB}"/>
          </ac:picMkLst>
        </pc:picChg>
        <pc:picChg chg="add mod">
          <ac:chgData name="Shimpi, Piyusha S" userId="0c019c91-0821-4529-9dc2-02375fba2f06" providerId="ADAL" clId="{7684E7FA-A2A6-46F5-8FD8-F60DC5D0FBFE}" dt="2023-07-26T05:48:53.842" v="805" actId="164"/>
          <ac:picMkLst>
            <pc:docMk/>
            <pc:sldMk cId="1172344262" sldId="3695"/>
            <ac:picMk id="15" creationId="{C18F5E41-5A3E-B202-FD13-2ED78979F567}"/>
          </ac:picMkLst>
        </pc:picChg>
        <pc:picChg chg="del">
          <ac:chgData name="Shimpi, Piyusha S" userId="0c019c91-0821-4529-9dc2-02375fba2f06" providerId="ADAL" clId="{7684E7FA-A2A6-46F5-8FD8-F60DC5D0FBFE}" dt="2023-07-26T05:49:03.954" v="807" actId="478"/>
          <ac:picMkLst>
            <pc:docMk/>
            <pc:sldMk cId="1172344262" sldId="3695"/>
            <ac:picMk id="17" creationId="{B50CB2C7-2A7C-0F29-F734-BFD94CA37407}"/>
          </ac:picMkLst>
        </pc:picChg>
        <pc:picChg chg="add mod">
          <ac:chgData name="Shimpi, Piyusha S" userId="0c019c91-0821-4529-9dc2-02375fba2f06" providerId="ADAL" clId="{7684E7FA-A2A6-46F5-8FD8-F60DC5D0FBFE}" dt="2023-07-26T05:58:12.990" v="812" actId="14100"/>
          <ac:picMkLst>
            <pc:docMk/>
            <pc:sldMk cId="1172344262" sldId="3695"/>
            <ac:picMk id="20" creationId="{ABEEF551-6BB0-06FD-48E3-A82C5986A0C4}"/>
          </ac:picMkLst>
        </pc:picChg>
      </pc:sldChg>
      <pc:sldChg chg="addSp delSp modSp mod">
        <pc:chgData name="Shimpi, Piyusha S" userId="0c019c91-0821-4529-9dc2-02375fba2f06" providerId="ADAL" clId="{7684E7FA-A2A6-46F5-8FD8-F60DC5D0FBFE}" dt="2023-07-25T15:51:35.888" v="523" actId="1076"/>
        <pc:sldMkLst>
          <pc:docMk/>
          <pc:sldMk cId="1292571507" sldId="3696"/>
        </pc:sldMkLst>
        <pc:spChg chg="add del mod">
          <ac:chgData name="Shimpi, Piyusha S" userId="0c019c91-0821-4529-9dc2-02375fba2f06" providerId="ADAL" clId="{7684E7FA-A2A6-46F5-8FD8-F60DC5D0FBFE}" dt="2023-07-25T14:51:21.741" v="203" actId="478"/>
          <ac:spMkLst>
            <pc:docMk/>
            <pc:sldMk cId="1292571507" sldId="3696"/>
            <ac:spMk id="3" creationId="{77FBD88F-319E-DBEB-67AB-033303AA1C30}"/>
          </ac:spMkLst>
        </pc:spChg>
        <pc:spChg chg="del mod">
          <ac:chgData name="Shimpi, Piyusha S" userId="0c019c91-0821-4529-9dc2-02375fba2f06" providerId="ADAL" clId="{7684E7FA-A2A6-46F5-8FD8-F60DC5D0FBFE}" dt="2023-07-25T14:12:01.783" v="82" actId="478"/>
          <ac:spMkLst>
            <pc:docMk/>
            <pc:sldMk cId="1292571507" sldId="3696"/>
            <ac:spMk id="3" creationId="{F923E68D-A1F1-8C17-78F0-8DA4B48D44AD}"/>
          </ac:spMkLst>
        </pc:spChg>
        <pc:spChg chg="mod">
          <ac:chgData name="Shimpi, Piyusha S" userId="0c019c91-0821-4529-9dc2-02375fba2f06" providerId="ADAL" clId="{7684E7FA-A2A6-46F5-8FD8-F60DC5D0FBFE}" dt="2023-07-25T15:51:35.888" v="523" actId="1076"/>
          <ac:spMkLst>
            <pc:docMk/>
            <pc:sldMk cId="1292571507" sldId="3696"/>
            <ac:spMk id="5" creationId="{DBABCCF0-F63F-CE20-666A-6652F7EC6B80}"/>
          </ac:spMkLst>
        </pc:spChg>
        <pc:spChg chg="del">
          <ac:chgData name="Shimpi, Piyusha S" userId="0c019c91-0821-4529-9dc2-02375fba2f06" providerId="ADAL" clId="{7684E7FA-A2A6-46F5-8FD8-F60DC5D0FBFE}" dt="2023-07-25T14:11:57.535" v="80" actId="478"/>
          <ac:spMkLst>
            <pc:docMk/>
            <pc:sldMk cId="1292571507" sldId="3696"/>
            <ac:spMk id="6" creationId="{E916746C-700B-B3CF-8256-61BB92CE8A94}"/>
          </ac:spMkLst>
        </pc:spChg>
        <pc:spChg chg="mod">
          <ac:chgData name="Shimpi, Piyusha S" userId="0c019c91-0821-4529-9dc2-02375fba2f06" providerId="ADAL" clId="{7684E7FA-A2A6-46F5-8FD8-F60DC5D0FBFE}" dt="2023-07-25T14:52:31.870" v="204" actId="339"/>
          <ac:spMkLst>
            <pc:docMk/>
            <pc:sldMk cId="1292571507" sldId="3696"/>
            <ac:spMk id="7" creationId="{4F15EC81-0858-4089-3269-9766C8419097}"/>
          </ac:spMkLst>
        </pc:spChg>
        <pc:spChg chg="mod">
          <ac:chgData name="Shimpi, Piyusha S" userId="0c019c91-0821-4529-9dc2-02375fba2f06" providerId="ADAL" clId="{7684E7FA-A2A6-46F5-8FD8-F60DC5D0FBFE}" dt="2023-07-25T14:57:04.090" v="212" actId="207"/>
          <ac:spMkLst>
            <pc:docMk/>
            <pc:sldMk cId="1292571507" sldId="3696"/>
            <ac:spMk id="8" creationId="{057CEC46-1CD8-74A2-D1CF-5FAA6095094A}"/>
          </ac:spMkLst>
        </pc:spChg>
        <pc:spChg chg="mod">
          <ac:chgData name="Shimpi, Piyusha S" userId="0c019c91-0821-4529-9dc2-02375fba2f06" providerId="ADAL" clId="{7684E7FA-A2A6-46F5-8FD8-F60DC5D0FBFE}" dt="2023-07-25T14:50:07.977" v="188" actId="1076"/>
          <ac:spMkLst>
            <pc:docMk/>
            <pc:sldMk cId="1292571507" sldId="3696"/>
            <ac:spMk id="9" creationId="{98477625-E20C-C09E-278F-69BB19F5851C}"/>
          </ac:spMkLst>
        </pc:spChg>
        <pc:spChg chg="mod">
          <ac:chgData name="Shimpi, Piyusha S" userId="0c019c91-0821-4529-9dc2-02375fba2f06" providerId="ADAL" clId="{7684E7FA-A2A6-46F5-8FD8-F60DC5D0FBFE}" dt="2023-07-25T14:57:11.790" v="214" actId="207"/>
          <ac:spMkLst>
            <pc:docMk/>
            <pc:sldMk cId="1292571507" sldId="3696"/>
            <ac:spMk id="10" creationId="{A7B67693-4BCA-6305-F4C5-A6C429AE4B74}"/>
          </ac:spMkLst>
        </pc:spChg>
        <pc:spChg chg="mod">
          <ac:chgData name="Shimpi, Piyusha S" userId="0c019c91-0821-4529-9dc2-02375fba2f06" providerId="ADAL" clId="{7684E7FA-A2A6-46F5-8FD8-F60DC5D0FBFE}" dt="2023-07-25T14:53:13.632" v="205" actId="20577"/>
          <ac:spMkLst>
            <pc:docMk/>
            <pc:sldMk cId="1292571507" sldId="3696"/>
            <ac:spMk id="11" creationId="{07F8451A-04CD-8FE3-7713-C9A23E49C34B}"/>
          </ac:spMkLst>
        </pc:spChg>
        <pc:spChg chg="mod">
          <ac:chgData name="Shimpi, Piyusha S" userId="0c019c91-0821-4529-9dc2-02375fba2f06" providerId="ADAL" clId="{7684E7FA-A2A6-46F5-8FD8-F60DC5D0FBFE}" dt="2023-07-25T14:57:08.342" v="213" actId="207"/>
          <ac:spMkLst>
            <pc:docMk/>
            <pc:sldMk cId="1292571507" sldId="3696"/>
            <ac:spMk id="12" creationId="{474095F2-0CF0-7199-0B6F-630C5E49655B}"/>
          </ac:spMkLst>
        </pc:spChg>
        <pc:spChg chg="mod">
          <ac:chgData name="Shimpi, Piyusha S" userId="0c019c91-0821-4529-9dc2-02375fba2f06" providerId="ADAL" clId="{7684E7FA-A2A6-46F5-8FD8-F60DC5D0FBFE}" dt="2023-07-25T14:53:20.514" v="207" actId="20577"/>
          <ac:spMkLst>
            <pc:docMk/>
            <pc:sldMk cId="1292571507" sldId="3696"/>
            <ac:spMk id="14" creationId="{6156D92D-76E5-D45A-DEF8-038C89528E58}"/>
          </ac:spMkLst>
        </pc:spChg>
        <pc:spChg chg="mod">
          <ac:chgData name="Shimpi, Piyusha S" userId="0c019c91-0821-4529-9dc2-02375fba2f06" providerId="ADAL" clId="{7684E7FA-A2A6-46F5-8FD8-F60DC5D0FBFE}" dt="2023-07-25T14:29:11.204" v="117" actId="14100"/>
          <ac:spMkLst>
            <pc:docMk/>
            <pc:sldMk cId="1292571507" sldId="3696"/>
            <ac:spMk id="15" creationId="{FEA9F74C-5D9D-670D-EC51-985D593527F7}"/>
          </ac:spMkLst>
        </pc:spChg>
        <pc:spChg chg="mod">
          <ac:chgData name="Shimpi, Piyusha S" userId="0c019c91-0821-4529-9dc2-02375fba2f06" providerId="ADAL" clId="{7684E7FA-A2A6-46F5-8FD8-F60DC5D0FBFE}" dt="2023-07-25T14:29:11.575" v="119" actId="1076"/>
          <ac:spMkLst>
            <pc:docMk/>
            <pc:sldMk cId="1292571507" sldId="3696"/>
            <ac:spMk id="18" creationId="{9E5DC394-127A-F6AE-0C44-EEB780AF08B1}"/>
          </ac:spMkLst>
        </pc:spChg>
        <pc:spChg chg="mod">
          <ac:chgData name="Shimpi, Piyusha S" userId="0c019c91-0821-4529-9dc2-02375fba2f06" providerId="ADAL" clId="{7684E7FA-A2A6-46F5-8FD8-F60DC5D0FBFE}" dt="2023-07-25T14:29:11.394" v="118" actId="1076"/>
          <ac:spMkLst>
            <pc:docMk/>
            <pc:sldMk cId="1292571507" sldId="3696"/>
            <ac:spMk id="27" creationId="{B587130D-F408-02A4-FDC2-35A069810C0B}"/>
          </ac:spMkLst>
        </pc:spChg>
        <pc:spChg chg="mod">
          <ac:chgData name="Shimpi, Piyusha S" userId="0c019c91-0821-4529-9dc2-02375fba2f06" providerId="ADAL" clId="{7684E7FA-A2A6-46F5-8FD8-F60DC5D0FBFE}" dt="2023-07-25T14:51:15.166" v="202" actId="1076"/>
          <ac:spMkLst>
            <pc:docMk/>
            <pc:sldMk cId="1292571507" sldId="3696"/>
            <ac:spMk id="29" creationId="{21023B2F-2A4C-13E7-1738-EBA5D845D058}"/>
          </ac:spMkLst>
        </pc:spChg>
        <pc:spChg chg="mod">
          <ac:chgData name="Shimpi, Piyusha S" userId="0c019c91-0821-4529-9dc2-02375fba2f06" providerId="ADAL" clId="{7684E7FA-A2A6-46F5-8FD8-F60DC5D0FBFE}" dt="2023-07-25T14:12:29.146" v="83" actId="1076"/>
          <ac:spMkLst>
            <pc:docMk/>
            <pc:sldMk cId="1292571507" sldId="3696"/>
            <ac:spMk id="32" creationId="{A83EFE03-46C6-8847-B826-5CBBDFF01572}"/>
          </ac:spMkLst>
        </pc:spChg>
        <pc:graphicFrameChg chg="mod">
          <ac:chgData name="Shimpi, Piyusha S" userId="0c019c91-0821-4529-9dc2-02375fba2f06" providerId="ADAL" clId="{7684E7FA-A2A6-46F5-8FD8-F60DC5D0FBFE}" dt="2023-07-25T14:49:30.549" v="182"/>
          <ac:graphicFrameMkLst>
            <pc:docMk/>
            <pc:sldMk cId="1292571507" sldId="3696"/>
            <ac:graphicFrameMk id="33" creationId="{E695C035-AC45-2788-C42A-048E284FBED4}"/>
          </ac:graphicFrameMkLst>
        </pc:graphicFrameChg>
      </pc:sldChg>
      <pc:sldChg chg="addSp delSp modSp add del mod">
        <pc:chgData name="Shimpi, Piyusha S" userId="0c019c91-0821-4529-9dc2-02375fba2f06" providerId="ADAL" clId="{7684E7FA-A2A6-46F5-8FD8-F60DC5D0FBFE}" dt="2023-07-25T15:51:13.940" v="519" actId="47"/>
        <pc:sldMkLst>
          <pc:docMk/>
          <pc:sldMk cId="1140132730" sldId="3698"/>
        </pc:sldMkLst>
        <pc:graphicFrameChg chg="del mod">
          <ac:chgData name="Shimpi, Piyusha S" userId="0c019c91-0821-4529-9dc2-02375fba2f06" providerId="ADAL" clId="{7684E7FA-A2A6-46F5-8FD8-F60DC5D0FBFE}" dt="2023-07-25T14:32:27.536" v="135" actId="478"/>
          <ac:graphicFrameMkLst>
            <pc:docMk/>
            <pc:sldMk cId="1140132730" sldId="3698"/>
            <ac:graphicFrameMk id="4" creationId="{2E928E3E-F3E4-8B07-E260-9AD260AAA76C}"/>
          </ac:graphicFrameMkLst>
        </pc:graphicFrameChg>
        <pc:graphicFrameChg chg="add del mod">
          <ac:chgData name="Shimpi, Piyusha S" userId="0c019c91-0821-4529-9dc2-02375fba2f06" providerId="ADAL" clId="{7684E7FA-A2A6-46F5-8FD8-F60DC5D0FBFE}" dt="2023-07-25T14:35:48.022" v="156" actId="478"/>
          <ac:graphicFrameMkLst>
            <pc:docMk/>
            <pc:sldMk cId="1140132730" sldId="3698"/>
            <ac:graphicFrameMk id="8" creationId="{71B6067A-87A9-A723-AA03-20540207F8DC}"/>
          </ac:graphicFrameMkLst>
        </pc:graphicFrameChg>
        <pc:graphicFrameChg chg="add mod">
          <ac:chgData name="Shimpi, Piyusha S" userId="0c019c91-0821-4529-9dc2-02375fba2f06" providerId="ADAL" clId="{7684E7FA-A2A6-46F5-8FD8-F60DC5D0FBFE}" dt="2023-07-25T14:35:57.286" v="158" actId="1076"/>
          <ac:graphicFrameMkLst>
            <pc:docMk/>
            <pc:sldMk cId="1140132730" sldId="3698"/>
            <ac:graphicFrameMk id="9" creationId="{ABCF44FF-77F7-B96C-6355-A332D8A5FBDA}"/>
          </ac:graphicFrameMkLst>
        </pc:graphicFrameChg>
      </pc:sldChg>
      <pc:sldChg chg="addSp delSp modSp new mod modClrScheme chgLayout">
        <pc:chgData name="Shimpi, Piyusha S" userId="0c019c91-0821-4529-9dc2-02375fba2f06" providerId="ADAL" clId="{7684E7FA-A2A6-46F5-8FD8-F60DC5D0FBFE}" dt="2023-07-25T14:27:22.922" v="106"/>
        <pc:sldMkLst>
          <pc:docMk/>
          <pc:sldMk cId="1595270826" sldId="3698"/>
        </pc:sldMkLst>
        <pc:spChg chg="del">
          <ac:chgData name="Shimpi, Piyusha S" userId="0c019c91-0821-4529-9dc2-02375fba2f06" providerId="ADAL" clId="{7684E7FA-A2A6-46F5-8FD8-F60DC5D0FBFE}" dt="2023-07-25T14:22:26.763" v="96" actId="478"/>
          <ac:spMkLst>
            <pc:docMk/>
            <pc:sldMk cId="1595270826" sldId="3698"/>
            <ac:spMk id="2" creationId="{F5D6D02A-468E-1563-CECC-6FEF1087AE8F}"/>
          </ac:spMkLst>
        </pc:spChg>
        <pc:spChg chg="del">
          <ac:chgData name="Shimpi, Piyusha S" userId="0c019c91-0821-4529-9dc2-02375fba2f06" providerId="ADAL" clId="{7684E7FA-A2A6-46F5-8FD8-F60DC5D0FBFE}" dt="2023-07-25T14:22:15.112" v="93" actId="478"/>
          <ac:spMkLst>
            <pc:docMk/>
            <pc:sldMk cId="1595270826" sldId="3698"/>
            <ac:spMk id="3" creationId="{76873F08-A8F3-4FE1-8257-240756F37535}"/>
          </ac:spMkLst>
        </pc:spChg>
        <pc:spChg chg="mod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4" creationId="{9F818744-B599-34B9-3E22-FB60D84A7592}"/>
          </ac:spMkLst>
        </pc:spChg>
        <pc:spChg chg="add del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5" creationId="{9A7097C8-1CF1-3858-3D7B-CF69B12FE9F3}"/>
          </ac:spMkLst>
        </pc:spChg>
        <pc:spChg chg="del mod">
          <ac:chgData name="Shimpi, Piyusha S" userId="0c019c91-0821-4529-9dc2-02375fba2f06" providerId="ADAL" clId="{7684E7FA-A2A6-46F5-8FD8-F60DC5D0FBFE}" dt="2023-07-25T14:22:19.123" v="95" actId="478"/>
          <ac:spMkLst>
            <pc:docMk/>
            <pc:sldMk cId="1595270826" sldId="3698"/>
            <ac:spMk id="6" creationId="{808C4DB0-7BA0-22DF-1D66-9C7F106EDD59}"/>
          </ac:spMkLst>
        </pc:spChg>
        <pc:spChg chg="add del mod">
          <ac:chgData name="Shimpi, Piyusha S" userId="0c019c91-0821-4529-9dc2-02375fba2f06" providerId="ADAL" clId="{7684E7FA-A2A6-46F5-8FD8-F60DC5D0FBFE}" dt="2023-07-25T14:23:07.548" v="99" actId="26606"/>
          <ac:spMkLst>
            <pc:docMk/>
            <pc:sldMk cId="1595270826" sldId="3698"/>
            <ac:spMk id="12" creationId="{DD50CD71-B443-9351-AAE7-107E89507634}"/>
          </ac:spMkLst>
        </pc:spChg>
        <pc:spChg chg="add del mod">
          <ac:chgData name="Shimpi, Piyusha S" userId="0c019c91-0821-4529-9dc2-02375fba2f06" providerId="ADAL" clId="{7684E7FA-A2A6-46F5-8FD8-F60DC5D0FBFE}" dt="2023-07-25T14:23:07.548" v="99" actId="26606"/>
          <ac:spMkLst>
            <pc:docMk/>
            <pc:sldMk cId="1595270826" sldId="3698"/>
            <ac:spMk id="14" creationId="{B0EA65B6-51C4-FD63-7024-9693F5622474}"/>
          </ac:spMkLst>
        </pc:spChg>
        <pc:spChg chg="add del mod">
          <ac:chgData name="Shimpi, Piyusha S" userId="0c019c91-0821-4529-9dc2-02375fba2f06" providerId="ADAL" clId="{7684E7FA-A2A6-46F5-8FD8-F60DC5D0FBFE}" dt="2023-07-25T14:23:07.548" v="99" actId="26606"/>
          <ac:spMkLst>
            <pc:docMk/>
            <pc:sldMk cId="1595270826" sldId="3698"/>
            <ac:spMk id="16" creationId="{1BDA3444-6F1A-6846-2762-61368064813C}"/>
          </ac:spMkLst>
        </pc:spChg>
        <pc:spChg chg="add del mod">
          <ac:chgData name="Shimpi, Piyusha S" userId="0c019c91-0821-4529-9dc2-02375fba2f06" providerId="ADAL" clId="{7684E7FA-A2A6-46F5-8FD8-F60DC5D0FBFE}" dt="2023-07-25T14:23:07.548" v="99" actId="26606"/>
          <ac:spMkLst>
            <pc:docMk/>
            <pc:sldMk cId="1595270826" sldId="3698"/>
            <ac:spMk id="18" creationId="{DCCA2733-A709-30EF-D694-FE6AF181504E}"/>
          </ac:spMkLst>
        </pc:spChg>
        <pc:spChg chg="add del mod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20" creationId="{48FFB247-E55C-E5C0-ACCF-2EBA213D748D}"/>
          </ac:spMkLst>
        </pc:spChg>
        <pc:spChg chg="add del mod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21" creationId="{59BC4351-B387-986E-4406-C04B972F7823}"/>
          </ac:spMkLst>
        </pc:spChg>
        <pc:spChg chg="add del mod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22" creationId="{16F5CCA9-7F2E-1CF4-59A5-A061DC69AFC2}"/>
          </ac:spMkLst>
        </pc:spChg>
        <pc:spChg chg="add del mod">
          <ac:chgData name="Shimpi, Piyusha S" userId="0c019c91-0821-4529-9dc2-02375fba2f06" providerId="ADAL" clId="{7684E7FA-A2A6-46F5-8FD8-F60DC5D0FBFE}" dt="2023-07-25T14:23:18.816" v="101" actId="26606"/>
          <ac:spMkLst>
            <pc:docMk/>
            <pc:sldMk cId="1595270826" sldId="3698"/>
            <ac:spMk id="23" creationId="{0101D652-DB5A-D2B4-FFDE-81366537FF79}"/>
          </ac:spMkLst>
        </pc:spChg>
        <pc:graphicFrameChg chg="add mod modGraphic">
          <ac:chgData name="Shimpi, Piyusha S" userId="0c019c91-0821-4529-9dc2-02375fba2f06" providerId="ADAL" clId="{7684E7FA-A2A6-46F5-8FD8-F60DC5D0FBFE}" dt="2023-07-25T14:27:22.922" v="106"/>
          <ac:graphicFrameMkLst>
            <pc:docMk/>
            <pc:sldMk cId="1595270826" sldId="3698"/>
            <ac:graphicFrameMk id="7" creationId="{E939E121-8AF5-681A-87F9-64171F9C37A6}"/>
          </ac:graphicFrameMkLst>
        </pc:graphicFrameChg>
      </pc:sldChg>
      <pc:sldChg chg="addSp delSp modSp mod">
        <pc:chgData name="Shimpi, Piyusha S" userId="0c019c91-0821-4529-9dc2-02375fba2f06" providerId="ADAL" clId="{7684E7FA-A2A6-46F5-8FD8-F60DC5D0FBFE}" dt="2023-07-26T04:57:28.672" v="761" actId="20577"/>
        <pc:sldMkLst>
          <pc:docMk/>
          <pc:sldMk cId="7283056" sldId="3699"/>
        </pc:sldMkLst>
        <pc:spChg chg="mod">
          <ac:chgData name="Shimpi, Piyusha S" userId="0c019c91-0821-4529-9dc2-02375fba2f06" providerId="ADAL" clId="{7684E7FA-A2A6-46F5-8FD8-F60DC5D0FBFE}" dt="2023-07-25T15:03:06.978" v="217" actId="1076"/>
          <ac:spMkLst>
            <pc:docMk/>
            <pc:sldMk cId="7283056" sldId="3699"/>
            <ac:spMk id="3" creationId="{0BD7ABD0-FFBC-BEBA-0DE3-F93E2E032A87}"/>
          </ac:spMkLst>
        </pc:spChg>
        <pc:spChg chg="add del">
          <ac:chgData name="Shimpi, Piyusha S" userId="0c019c91-0821-4529-9dc2-02375fba2f06" providerId="ADAL" clId="{7684E7FA-A2A6-46F5-8FD8-F60DC5D0FBFE}" dt="2023-07-26T04:55:49.946" v="691" actId="478"/>
          <ac:spMkLst>
            <pc:docMk/>
            <pc:sldMk cId="7283056" sldId="3699"/>
            <ac:spMk id="8" creationId="{D853EDD1-193E-9B78-FA53-78AE482D8420}"/>
          </ac:spMkLst>
        </pc:spChg>
        <pc:spChg chg="add del mod">
          <ac:chgData name="Shimpi, Piyusha S" userId="0c019c91-0821-4529-9dc2-02375fba2f06" providerId="ADAL" clId="{7684E7FA-A2A6-46F5-8FD8-F60DC5D0FBFE}" dt="2023-07-26T04:55:49.450" v="690" actId="1076"/>
          <ac:spMkLst>
            <pc:docMk/>
            <pc:sldMk cId="7283056" sldId="3699"/>
            <ac:spMk id="9" creationId="{BF27A660-FD3E-FAE5-CB85-19AB7ED82680}"/>
          </ac:spMkLst>
        </pc:spChg>
        <pc:spChg chg="mod">
          <ac:chgData name="Shimpi, Piyusha S" userId="0c019c91-0821-4529-9dc2-02375fba2f06" providerId="ADAL" clId="{7684E7FA-A2A6-46F5-8FD8-F60DC5D0FBFE}" dt="2023-07-25T14:44:02.181" v="160" actId="1076"/>
          <ac:spMkLst>
            <pc:docMk/>
            <pc:sldMk cId="7283056" sldId="3699"/>
            <ac:spMk id="11" creationId="{5F27AFF8-8FFC-6430-D186-D457251E21E7}"/>
          </ac:spMkLst>
        </pc:spChg>
        <pc:spChg chg="mod">
          <ac:chgData name="Shimpi, Piyusha S" userId="0c019c91-0821-4529-9dc2-02375fba2f06" providerId="ADAL" clId="{7684E7FA-A2A6-46F5-8FD8-F60DC5D0FBFE}" dt="2023-07-26T04:57:28.672" v="761" actId="20577"/>
          <ac:spMkLst>
            <pc:docMk/>
            <pc:sldMk cId="7283056" sldId="3699"/>
            <ac:spMk id="13" creationId="{F184CBD8-14D9-9499-4016-69F08CBD4DFA}"/>
          </ac:spMkLst>
        </pc:spChg>
        <pc:picChg chg="mod">
          <ac:chgData name="Shimpi, Piyusha S" userId="0c019c91-0821-4529-9dc2-02375fba2f06" providerId="ADAL" clId="{7684E7FA-A2A6-46F5-8FD8-F60DC5D0FBFE}" dt="2023-07-26T04:56:00.214" v="695" actId="1076"/>
          <ac:picMkLst>
            <pc:docMk/>
            <pc:sldMk cId="7283056" sldId="3699"/>
            <ac:picMk id="1026" creationId="{ADC73774-88E3-910B-FD10-1ACCC34480C2}"/>
          </ac:picMkLst>
        </pc:picChg>
        <pc:picChg chg="mod">
          <ac:chgData name="Shimpi, Piyusha S" userId="0c019c91-0821-4529-9dc2-02375fba2f06" providerId="ADAL" clId="{7684E7FA-A2A6-46F5-8FD8-F60DC5D0FBFE}" dt="2023-07-26T04:57:07.978" v="697" actId="1076"/>
          <ac:picMkLst>
            <pc:docMk/>
            <pc:sldMk cId="7283056" sldId="3699"/>
            <ac:picMk id="1028" creationId="{3792C0A6-5B10-FBCE-9AF0-CE644A0FE7F2}"/>
          </ac:picMkLst>
        </pc:picChg>
        <pc:picChg chg="add del mod">
          <ac:chgData name="Shimpi, Piyusha S" userId="0c019c91-0821-4529-9dc2-02375fba2f06" providerId="ADAL" clId="{7684E7FA-A2A6-46F5-8FD8-F60DC5D0FBFE}" dt="2023-07-26T04:55:52.095" v="692" actId="478"/>
          <ac:picMkLst>
            <pc:docMk/>
            <pc:sldMk cId="7283056" sldId="3699"/>
            <ac:picMk id="1030" creationId="{60B18B1D-1B6E-06C9-8D38-5D386CB140CA}"/>
          </ac:picMkLst>
        </pc:picChg>
        <pc:picChg chg="add del mod">
          <ac:chgData name="Shimpi, Piyusha S" userId="0c019c91-0821-4529-9dc2-02375fba2f06" providerId="ADAL" clId="{7684E7FA-A2A6-46F5-8FD8-F60DC5D0FBFE}" dt="2023-07-26T04:55:54.708" v="694" actId="478"/>
          <ac:picMkLst>
            <pc:docMk/>
            <pc:sldMk cId="7283056" sldId="3699"/>
            <ac:picMk id="3074" creationId="{8092548F-3286-17AE-99D6-18DA291A7366}"/>
          </ac:picMkLst>
        </pc:picChg>
      </pc:sldChg>
      <pc:sldChg chg="addSp delSp modSp new del mod">
        <pc:chgData name="Shimpi, Piyusha S" userId="0c019c91-0821-4529-9dc2-02375fba2f06" providerId="ADAL" clId="{7684E7FA-A2A6-46F5-8FD8-F60DC5D0FBFE}" dt="2023-07-25T15:59:12.875" v="591" actId="47"/>
        <pc:sldMkLst>
          <pc:docMk/>
          <pc:sldMk cId="1145493675" sldId="3700"/>
        </pc:sldMkLst>
        <pc:spChg chg="del">
          <ac:chgData name="Shimpi, Piyusha S" userId="0c019c91-0821-4529-9dc2-02375fba2f06" providerId="ADAL" clId="{7684E7FA-A2A6-46F5-8FD8-F60DC5D0FBFE}" dt="2023-07-25T15:48:03.907" v="496" actId="478"/>
          <ac:spMkLst>
            <pc:docMk/>
            <pc:sldMk cId="1145493675" sldId="3700"/>
            <ac:spMk id="2" creationId="{665DF382-D03A-9F86-176F-EC02CE3D5A45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4" creationId="{E1DD8201-BE2E-0575-70E7-2806C52B590C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5" creationId="{77815BC7-88CC-2018-E2A0-BA5ECB48E9E3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6" creationId="{AA4D2269-1344-4300-87EC-49B6782B863C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7" creationId="{E81D45AE-CCB8-12C7-D8D6-3D4B56A8B471}"/>
          </ac:spMkLst>
        </pc:spChg>
        <pc:spChg chg="add mod">
          <ac:chgData name="Shimpi, Piyusha S" userId="0c019c91-0821-4529-9dc2-02375fba2f06" providerId="ADAL" clId="{7684E7FA-A2A6-46F5-8FD8-F60DC5D0FBFE}" dt="2023-07-25T15:55:53.617" v="558" actId="1076"/>
          <ac:spMkLst>
            <pc:docMk/>
            <pc:sldMk cId="1145493675" sldId="3700"/>
            <ac:spMk id="8" creationId="{DF76B1DB-2578-CC88-439D-DC33A938CB30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9" creationId="{F081CDC2-1B1C-EC8C-AA27-8D682E1627AA}"/>
          </ac:spMkLst>
        </pc:spChg>
        <pc:spChg chg="add mod">
          <ac:chgData name="Shimpi, Piyusha S" userId="0c019c91-0821-4529-9dc2-02375fba2f06" providerId="ADAL" clId="{7684E7FA-A2A6-46F5-8FD8-F60DC5D0FBFE}" dt="2023-07-25T15:55:41.878" v="556" actId="14100"/>
          <ac:spMkLst>
            <pc:docMk/>
            <pc:sldMk cId="1145493675" sldId="3700"/>
            <ac:spMk id="10" creationId="{EB2CEA48-2755-18AB-8BF5-890478D491D0}"/>
          </ac:spMkLst>
        </pc:spChg>
        <pc:spChg chg="add mod">
          <ac:chgData name="Shimpi, Piyusha S" userId="0c019c91-0821-4529-9dc2-02375fba2f06" providerId="ADAL" clId="{7684E7FA-A2A6-46F5-8FD8-F60DC5D0FBFE}" dt="2023-07-25T15:56:07.613" v="560" actId="207"/>
          <ac:spMkLst>
            <pc:docMk/>
            <pc:sldMk cId="1145493675" sldId="3700"/>
            <ac:spMk id="11" creationId="{7CF47BF1-1530-02E3-5629-3F4CC066E1F9}"/>
          </ac:spMkLst>
        </pc:spChg>
        <pc:spChg chg="add del mod">
          <ac:chgData name="Shimpi, Piyusha S" userId="0c019c91-0821-4529-9dc2-02375fba2f06" providerId="ADAL" clId="{7684E7FA-A2A6-46F5-8FD8-F60DC5D0FBFE}" dt="2023-07-25T15:48:57.714" v="503" actId="478"/>
          <ac:spMkLst>
            <pc:docMk/>
            <pc:sldMk cId="1145493675" sldId="3700"/>
            <ac:spMk id="12" creationId="{AF1A3FC7-9CEE-9194-F2C1-C3EC0AA959B2}"/>
          </ac:spMkLst>
        </pc:spChg>
        <pc:spChg chg="add del mod">
          <ac:chgData name="Shimpi, Piyusha S" userId="0c019c91-0821-4529-9dc2-02375fba2f06" providerId="ADAL" clId="{7684E7FA-A2A6-46F5-8FD8-F60DC5D0FBFE}" dt="2023-07-25T15:48:54.477" v="501" actId="478"/>
          <ac:spMkLst>
            <pc:docMk/>
            <pc:sldMk cId="1145493675" sldId="3700"/>
            <ac:spMk id="13" creationId="{0EB43E97-47FD-680B-1FDB-C7E128F4BC58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14" creationId="{4E9127D7-4744-7ACF-2A31-1922383A0089}"/>
          </ac:spMkLst>
        </pc:spChg>
        <pc:spChg chg="add mod">
          <ac:chgData name="Shimpi, Piyusha S" userId="0c019c91-0821-4529-9dc2-02375fba2f06" providerId="ADAL" clId="{7684E7FA-A2A6-46F5-8FD8-F60DC5D0FBFE}" dt="2023-07-25T15:56:24.622" v="562" actId="1076"/>
          <ac:spMkLst>
            <pc:docMk/>
            <pc:sldMk cId="1145493675" sldId="3700"/>
            <ac:spMk id="15" creationId="{77DFD004-F407-11D6-2841-E21CD49A43BC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16" creationId="{E926DB38-1D25-0BC2-A0DA-F4EAD3AB3A0F}"/>
          </ac:spMkLst>
        </pc:spChg>
        <pc:spChg chg="add mod">
          <ac:chgData name="Shimpi, Piyusha S" userId="0c019c91-0821-4529-9dc2-02375fba2f06" providerId="ADAL" clId="{7684E7FA-A2A6-46F5-8FD8-F60DC5D0FBFE}" dt="2023-07-25T15:55:47.497" v="557" actId="14100"/>
          <ac:spMkLst>
            <pc:docMk/>
            <pc:sldMk cId="1145493675" sldId="3700"/>
            <ac:spMk id="17" creationId="{08AAF7B2-7046-5A7D-E0CB-FC123C22CE8D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18" creationId="{285CB7B3-F279-EDA1-C1A7-5559416CF311}"/>
          </ac:spMkLst>
        </pc:spChg>
        <pc:spChg chg="add mod">
          <ac:chgData name="Shimpi, Piyusha S" userId="0c019c91-0821-4529-9dc2-02375fba2f06" providerId="ADAL" clId="{7684E7FA-A2A6-46F5-8FD8-F60DC5D0FBFE}" dt="2023-07-25T15:56:20.627" v="561" actId="14100"/>
          <ac:spMkLst>
            <pc:docMk/>
            <pc:sldMk cId="1145493675" sldId="3700"/>
            <ac:spMk id="19" creationId="{F9FBA71F-FF96-9A78-23AF-6C6FC59E4F73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0" creationId="{DD3DBC1F-CD37-1997-0972-0DD56985F41D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21" creationId="{A3195415-5E35-44E8-A56A-36AC98A851D9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22" creationId="{51B1CC35-C0F1-2A69-A9C8-C44B3CBC3C08}"/>
          </ac:spMkLst>
        </pc:spChg>
        <pc:spChg chg="add mod">
          <ac:chgData name="Shimpi, Piyusha S" userId="0c019c91-0821-4529-9dc2-02375fba2f06" providerId="ADAL" clId="{7684E7FA-A2A6-46F5-8FD8-F60DC5D0FBFE}" dt="2023-07-25T15:54:06.690" v="534" actId="688"/>
          <ac:spMkLst>
            <pc:docMk/>
            <pc:sldMk cId="1145493675" sldId="3700"/>
            <ac:spMk id="23" creationId="{F1951F11-BFB5-4AC3-100D-D38FC87FE4F9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4" creationId="{7AB09906-7547-2175-0610-3FBBDF7946C0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5" creationId="{8DD4CB2B-A2E9-9AA5-589C-DC620B7E2FF4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6" creationId="{81E14CC2-B43D-EC70-9D27-37E08962D0D6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7" creationId="{7071535E-8F9E-EA8C-AF93-3F96F816B508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28" creationId="{20041165-9298-6F5A-6F7B-09EA2EAA5820}"/>
          </ac:spMkLst>
        </pc:spChg>
        <pc:spChg chg="add mod">
          <ac:chgData name="Shimpi, Piyusha S" userId="0c019c91-0821-4529-9dc2-02375fba2f06" providerId="ADAL" clId="{7684E7FA-A2A6-46F5-8FD8-F60DC5D0FBFE}" dt="2023-07-25T15:56:28.083" v="563" actId="1076"/>
          <ac:spMkLst>
            <pc:docMk/>
            <pc:sldMk cId="1145493675" sldId="3700"/>
            <ac:spMk id="29" creationId="{FB76AA73-FFA8-ECCD-8B7A-B58848C072A1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0" creationId="{0C72F42F-5E8E-FB48-2EA0-E8E1A3B4C901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1" creationId="{58593666-7FD8-9516-791D-32E54F390F14}"/>
          </ac:spMkLst>
        </pc:spChg>
        <pc:spChg chg="add 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2" creationId="{2C415D0C-49DA-8E80-7A68-7361AB6488E5}"/>
          </ac:spMkLst>
        </pc:spChg>
        <pc:spChg chg="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4" creationId="{2823901B-0DB0-3378-12D5-C4D10B0A9286}"/>
          </ac:spMkLst>
        </pc:spChg>
        <pc:spChg chg="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5" creationId="{F09E2D54-12F9-119E-22C3-6CDD971AA2B7}"/>
          </ac:spMkLst>
        </pc:spChg>
        <pc:spChg chg="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6" creationId="{6AE42C80-0677-A035-7231-21C829AAC440}"/>
          </ac:spMkLst>
        </pc:spChg>
        <pc:spChg chg="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7" creationId="{E296E644-0EEF-32FC-F4F4-788383FC26E5}"/>
          </ac:spMkLst>
        </pc:spChg>
        <pc:spChg chg="mod">
          <ac:chgData name="Shimpi, Piyusha S" userId="0c019c91-0821-4529-9dc2-02375fba2f06" providerId="ADAL" clId="{7684E7FA-A2A6-46F5-8FD8-F60DC5D0FBFE}" dt="2023-07-25T15:47:57.541" v="495"/>
          <ac:spMkLst>
            <pc:docMk/>
            <pc:sldMk cId="1145493675" sldId="3700"/>
            <ac:spMk id="38" creationId="{5558A969-A00F-A511-BF1C-5996D853C7CC}"/>
          </ac:spMkLst>
        </pc:spChg>
        <pc:spChg chg="add mod">
          <ac:chgData name="Shimpi, Piyusha S" userId="0c019c91-0821-4529-9dc2-02375fba2f06" providerId="ADAL" clId="{7684E7FA-A2A6-46F5-8FD8-F60DC5D0FBFE}" dt="2023-07-25T15:48:58.423" v="504"/>
          <ac:spMkLst>
            <pc:docMk/>
            <pc:sldMk cId="1145493675" sldId="3700"/>
            <ac:spMk id="39" creationId="{A63AB4ED-66E9-9E38-AA02-F13CBB471C8C}"/>
          </ac:spMkLst>
        </pc:spChg>
        <pc:spChg chg="add mod">
          <ac:chgData name="Shimpi, Piyusha S" userId="0c019c91-0821-4529-9dc2-02375fba2f06" providerId="ADAL" clId="{7684E7FA-A2A6-46F5-8FD8-F60DC5D0FBFE}" dt="2023-07-25T15:49:25.290" v="507" actId="113"/>
          <ac:spMkLst>
            <pc:docMk/>
            <pc:sldMk cId="1145493675" sldId="3700"/>
            <ac:spMk id="40" creationId="{45BBEE38-53F2-2F94-0078-85DD82C77C99}"/>
          </ac:spMkLst>
        </pc:spChg>
        <pc:spChg chg="add mod">
          <ac:chgData name="Shimpi, Piyusha S" userId="0c019c91-0821-4529-9dc2-02375fba2f06" providerId="ADAL" clId="{7684E7FA-A2A6-46F5-8FD8-F60DC5D0FBFE}" dt="2023-07-25T15:49:28.823" v="508" actId="113"/>
          <ac:spMkLst>
            <pc:docMk/>
            <pc:sldMk cId="1145493675" sldId="3700"/>
            <ac:spMk id="41" creationId="{D8EA2D82-A15E-4377-F92F-56705494FEC7}"/>
          </ac:spMkLst>
        </pc:spChg>
        <pc:spChg chg="add mod">
          <ac:chgData name="Shimpi, Piyusha S" userId="0c019c91-0821-4529-9dc2-02375fba2f06" providerId="ADAL" clId="{7684E7FA-A2A6-46F5-8FD8-F60DC5D0FBFE}" dt="2023-07-25T15:49:05.991" v="505"/>
          <ac:spMkLst>
            <pc:docMk/>
            <pc:sldMk cId="1145493675" sldId="3700"/>
            <ac:spMk id="42" creationId="{E01FE6B2-C45B-27D6-4E0D-EF42F4FE67D0}"/>
          </ac:spMkLst>
        </pc:spChg>
        <pc:spChg chg="add mod">
          <ac:chgData name="Shimpi, Piyusha S" userId="0c019c91-0821-4529-9dc2-02375fba2f06" providerId="ADAL" clId="{7684E7FA-A2A6-46F5-8FD8-F60DC5D0FBFE}" dt="2023-07-25T15:49:12.614" v="506"/>
          <ac:spMkLst>
            <pc:docMk/>
            <pc:sldMk cId="1145493675" sldId="3700"/>
            <ac:spMk id="43" creationId="{AF1A0342-A786-7FC4-0852-D936673DD4C1}"/>
          </ac:spMkLst>
        </pc:spChg>
        <pc:spChg chg="add mod">
          <ac:chgData name="Shimpi, Piyusha S" userId="0c019c91-0821-4529-9dc2-02375fba2f06" providerId="ADAL" clId="{7684E7FA-A2A6-46F5-8FD8-F60DC5D0FBFE}" dt="2023-07-25T15:53:11.194" v="527" actId="1076"/>
          <ac:spMkLst>
            <pc:docMk/>
            <pc:sldMk cId="1145493675" sldId="3700"/>
            <ac:spMk id="44" creationId="{6AC43597-3DEC-BDB2-2B17-E76B99FF7E3D}"/>
          </ac:spMkLst>
        </pc:spChg>
        <pc:spChg chg="add mod">
          <ac:chgData name="Shimpi, Piyusha S" userId="0c019c91-0821-4529-9dc2-02375fba2f06" providerId="ADAL" clId="{7684E7FA-A2A6-46F5-8FD8-F60DC5D0FBFE}" dt="2023-07-25T15:50:22.458" v="514" actId="1076"/>
          <ac:spMkLst>
            <pc:docMk/>
            <pc:sldMk cId="1145493675" sldId="3700"/>
            <ac:spMk id="45" creationId="{CBA33FD2-3C08-D989-50F0-03D9255CF54E}"/>
          </ac:spMkLst>
        </pc:spChg>
        <pc:spChg chg="add mod">
          <ac:chgData name="Shimpi, Piyusha S" userId="0c019c91-0821-4529-9dc2-02375fba2f06" providerId="ADAL" clId="{7684E7FA-A2A6-46F5-8FD8-F60DC5D0FBFE}" dt="2023-07-25T15:49:53.247" v="511"/>
          <ac:spMkLst>
            <pc:docMk/>
            <pc:sldMk cId="1145493675" sldId="3700"/>
            <ac:spMk id="46" creationId="{DC8B3D6D-4956-E6AF-79F6-61EAD2C0AA4F}"/>
          </ac:spMkLst>
        </pc:spChg>
        <pc:spChg chg="add mod">
          <ac:chgData name="Shimpi, Piyusha S" userId="0c019c91-0821-4529-9dc2-02375fba2f06" providerId="ADAL" clId="{7684E7FA-A2A6-46F5-8FD8-F60DC5D0FBFE}" dt="2023-07-25T15:50:08.035" v="512"/>
          <ac:spMkLst>
            <pc:docMk/>
            <pc:sldMk cId="1145493675" sldId="3700"/>
            <ac:spMk id="47" creationId="{59884040-0B21-7128-D754-CCCFB68AA0F8}"/>
          </ac:spMkLst>
        </pc:spChg>
        <pc:spChg chg="add mod">
          <ac:chgData name="Shimpi, Piyusha S" userId="0c019c91-0821-4529-9dc2-02375fba2f06" providerId="ADAL" clId="{7684E7FA-A2A6-46F5-8FD8-F60DC5D0FBFE}" dt="2023-07-25T15:50:08.035" v="512"/>
          <ac:spMkLst>
            <pc:docMk/>
            <pc:sldMk cId="1145493675" sldId="3700"/>
            <ac:spMk id="48" creationId="{9612394E-D5B3-60A9-E794-D165E45166CF}"/>
          </ac:spMkLst>
        </pc:spChg>
        <pc:spChg chg="add mod">
          <ac:chgData name="Shimpi, Piyusha S" userId="0c019c91-0821-4529-9dc2-02375fba2f06" providerId="ADAL" clId="{7684E7FA-A2A6-46F5-8FD8-F60DC5D0FBFE}" dt="2023-07-25T15:50:32.218" v="515" actId="1076"/>
          <ac:spMkLst>
            <pc:docMk/>
            <pc:sldMk cId="1145493675" sldId="3700"/>
            <ac:spMk id="49" creationId="{5A19511F-06F1-5ACC-8856-AE0106EB7CC7}"/>
          </ac:spMkLst>
        </pc:spChg>
        <pc:spChg chg="add mod">
          <ac:chgData name="Shimpi, Piyusha S" userId="0c019c91-0821-4529-9dc2-02375fba2f06" providerId="ADAL" clId="{7684E7FA-A2A6-46F5-8FD8-F60DC5D0FBFE}" dt="2023-07-25T15:50:08.035" v="512"/>
          <ac:spMkLst>
            <pc:docMk/>
            <pc:sldMk cId="1145493675" sldId="3700"/>
            <ac:spMk id="50" creationId="{75BBA642-4B47-EA3B-D8BF-F4F7AA070CDB}"/>
          </ac:spMkLst>
        </pc:spChg>
        <pc:spChg chg="add mod">
          <ac:chgData name="Shimpi, Piyusha S" userId="0c019c91-0821-4529-9dc2-02375fba2f06" providerId="ADAL" clId="{7684E7FA-A2A6-46F5-8FD8-F60DC5D0FBFE}" dt="2023-07-25T15:53:13.986" v="528" actId="571"/>
          <ac:spMkLst>
            <pc:docMk/>
            <pc:sldMk cId="1145493675" sldId="3700"/>
            <ac:spMk id="52" creationId="{D4CD7462-5764-C622-174E-1BC43AE3AF8E}"/>
          </ac:spMkLst>
        </pc:spChg>
        <pc:spChg chg="add mod">
          <ac:chgData name="Shimpi, Piyusha S" userId="0c019c91-0821-4529-9dc2-02375fba2f06" providerId="ADAL" clId="{7684E7FA-A2A6-46F5-8FD8-F60DC5D0FBFE}" dt="2023-07-25T15:53:13.986" v="528" actId="571"/>
          <ac:spMkLst>
            <pc:docMk/>
            <pc:sldMk cId="1145493675" sldId="3700"/>
            <ac:spMk id="53" creationId="{9956D36E-2035-F284-37E7-1FFE4942BA1B}"/>
          </ac:spMkLst>
        </pc:spChg>
        <pc:grpChg chg="add mod">
          <ac:chgData name="Shimpi, Piyusha S" userId="0c019c91-0821-4529-9dc2-02375fba2f06" providerId="ADAL" clId="{7684E7FA-A2A6-46F5-8FD8-F60DC5D0FBFE}" dt="2023-07-25T15:48:06.157" v="497" actId="1076"/>
          <ac:grpSpMkLst>
            <pc:docMk/>
            <pc:sldMk cId="1145493675" sldId="3700"/>
            <ac:grpSpMk id="33" creationId="{7A0ABEB3-FD93-2552-81EF-A128A78DF756}"/>
          </ac:grpSpMkLst>
        </pc:grpChg>
        <pc:picChg chg="add del mod">
          <ac:chgData name="Shimpi, Piyusha S" userId="0c019c91-0821-4529-9dc2-02375fba2f06" providerId="ADAL" clId="{7684E7FA-A2A6-46F5-8FD8-F60DC5D0FBFE}" dt="2023-07-25T15:53:09.611" v="526" actId="478"/>
          <ac:picMkLst>
            <pc:docMk/>
            <pc:sldMk cId="1145493675" sldId="3700"/>
            <ac:picMk id="51" creationId="{D3BC6410-190E-7F53-46FE-F635D467EC75}"/>
          </ac:picMkLst>
        </pc:picChg>
      </pc:sldChg>
      <pc:sldChg chg="addSp delSp modSp new del mod">
        <pc:chgData name="Shimpi, Piyusha S" userId="0c019c91-0821-4529-9dc2-02375fba2f06" providerId="ADAL" clId="{7684E7FA-A2A6-46F5-8FD8-F60DC5D0FBFE}" dt="2023-07-25T15:47:03.992" v="491" actId="47"/>
        <pc:sldMkLst>
          <pc:docMk/>
          <pc:sldMk cId="4055172649" sldId="3700"/>
        </pc:sldMkLst>
        <pc:spChg chg="del mod">
          <ac:chgData name="Shimpi, Piyusha S" userId="0c019c91-0821-4529-9dc2-02375fba2f06" providerId="ADAL" clId="{7684E7FA-A2A6-46F5-8FD8-F60DC5D0FBFE}" dt="2023-07-25T15:46:22.282" v="489" actId="478"/>
          <ac:spMkLst>
            <pc:docMk/>
            <pc:sldMk cId="4055172649" sldId="3700"/>
            <ac:spMk id="2" creationId="{DE9A5896-11BD-1A23-D86A-DCB4C6BE95BC}"/>
          </ac:spMkLst>
        </pc:spChg>
        <pc:spChg chg="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" creationId="{76D5124A-7A63-E410-5DFD-58BBC410DBF2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" creationId="{E7BE611A-EB6E-BDE7-E0BD-E31147BF7F50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5" creationId="{187E696F-B015-B1F2-C42F-3DA79F52872D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6" creationId="{CA7903BE-EFFD-9592-7E37-D95EC64A9E58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7" creationId="{9E39DC06-FE78-9A83-10CC-8EB67EB45C3F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8" creationId="{882AC95F-CC55-481B-854D-FA372B1FFBB7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9" creationId="{8D18BAD7-5534-F8B0-B198-227B0BE7A8F5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0" creationId="{93EF4E73-6931-3AC4-192B-BB9A43C751AA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1" creationId="{5FF95B2B-F5AD-4867-65DD-53CEFEA84CE3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2" creationId="{AC8D22BE-DAF0-0D85-9AAA-D0C5B854EA97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3" creationId="{AFFD0CF7-95B2-8EC3-0ED2-E0544A56CA87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4" creationId="{BCBD266B-2ADB-4843-C0A5-F835866CAF7E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5" creationId="{4C8C8519-8F8B-2631-76E9-9C1A848349AA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6" creationId="{00E29A4A-B31A-682D-112A-05FD9C800F4D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7" creationId="{EF62E2E2-22A2-9FC1-2E99-1E9501D98ED1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8" creationId="{94C6DC5F-2C71-6503-6BAB-F01357DB647B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19" creationId="{76D71CEA-6CB5-52D0-3A1E-E16CA3CD1E8F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0" creationId="{35BB0DE7-4852-FEC5-BA9B-853731ACF80C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1" creationId="{D4C6E7D4-28A8-513C-A673-AB109ACB3502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2" creationId="{95B1D95F-682A-FE12-C3D2-388024030B89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3" creationId="{D21D7CE0-9056-F489-5E08-A4341479E38B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4" creationId="{726B9745-81EC-35E8-F6B5-F8241BC4ACC1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5" creationId="{A851DF13-0B00-A81B-7AF2-0D7D7CA6EBEB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6" creationId="{146E963A-4241-B1BD-C92A-F78EE4BF52C6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7" creationId="{5E079066-AD5B-BACB-EA9A-118F1A0D4E9A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8" creationId="{2B568324-EAB5-E6CC-83BE-E2BF340C96D4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29" creationId="{8E12F86E-A48F-ACF3-E994-C7BC02A935AD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0" creationId="{A9B65757-7993-DA97-9702-1B34678EEA7F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1" creationId="{5F671E28-CD44-8DF7-FAB5-6FF2EF4B071B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2" creationId="{204BEEF4-CA48-9743-ECAD-35A69C9DED48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3" creationId="{A62855FB-0E6D-E5EA-F381-BF1FDF3AA0E7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4" creationId="{2DAB4C9A-8B0C-E639-1023-F8A6C1670C72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5" creationId="{A4D6EC91-5215-4F17-B966-467F6DDE089E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6" creationId="{446F1D5A-5B73-AAD1-0BA6-8CC4B534F6EC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7" creationId="{B37BEECD-827D-074A-2112-B45709F4D992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8" creationId="{FE0E938A-1725-2EA6-0C97-51CA3F9A46CC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39" creationId="{72BBA4EE-08D5-18B6-6A1B-B3B707931CC2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0" creationId="{D1710DDD-90DE-B1E4-D334-CE8D1DD8DC0D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1" creationId="{3A231042-7FF4-7881-29C7-43E9C5BF842C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2" creationId="{513DB95A-A3E7-7995-122E-92B093E2B63F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3" creationId="{E4D99B70-400D-C22A-4707-06DC76F12C45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44" creationId="{AC432E0B-8C13-6A22-8B2D-4BB9B14AC193}"/>
          </ac:spMkLst>
        </pc:spChg>
        <pc:spChg chg="mod">
          <ac:chgData name="Shimpi, Piyusha S" userId="0c019c91-0821-4529-9dc2-02375fba2f06" providerId="ADAL" clId="{7684E7FA-A2A6-46F5-8FD8-F60DC5D0FBFE}" dt="2023-07-25T15:45:42.538" v="477"/>
          <ac:spMkLst>
            <pc:docMk/>
            <pc:sldMk cId="4055172649" sldId="3700"/>
            <ac:spMk id="46" creationId="{80495BCD-760A-EAED-7EE6-A04D80C9BF41}"/>
          </ac:spMkLst>
        </pc:spChg>
        <pc:spChg chg="mod">
          <ac:chgData name="Shimpi, Piyusha S" userId="0c019c91-0821-4529-9dc2-02375fba2f06" providerId="ADAL" clId="{7684E7FA-A2A6-46F5-8FD8-F60DC5D0FBFE}" dt="2023-07-25T15:45:42.538" v="477"/>
          <ac:spMkLst>
            <pc:docMk/>
            <pc:sldMk cId="4055172649" sldId="3700"/>
            <ac:spMk id="47" creationId="{3A89B7E0-1D83-BFD9-C217-069F9C5483A3}"/>
          </ac:spMkLst>
        </pc:spChg>
        <pc:spChg chg="mod">
          <ac:chgData name="Shimpi, Piyusha S" userId="0c019c91-0821-4529-9dc2-02375fba2f06" providerId="ADAL" clId="{7684E7FA-A2A6-46F5-8FD8-F60DC5D0FBFE}" dt="2023-07-25T15:45:42.538" v="477"/>
          <ac:spMkLst>
            <pc:docMk/>
            <pc:sldMk cId="4055172649" sldId="3700"/>
            <ac:spMk id="48" creationId="{01A99DF7-B715-3CED-61BA-0039C753158C}"/>
          </ac:spMkLst>
        </pc:spChg>
        <pc:spChg chg="mod">
          <ac:chgData name="Shimpi, Piyusha S" userId="0c019c91-0821-4529-9dc2-02375fba2f06" providerId="ADAL" clId="{7684E7FA-A2A6-46F5-8FD8-F60DC5D0FBFE}" dt="2023-07-25T15:45:42.538" v="477"/>
          <ac:spMkLst>
            <pc:docMk/>
            <pc:sldMk cId="4055172649" sldId="3700"/>
            <ac:spMk id="49" creationId="{BEDC6ED7-4E1E-B3B8-51FA-D6C648FABD4B}"/>
          </ac:spMkLst>
        </pc:spChg>
        <pc:spChg chg="mod">
          <ac:chgData name="Shimpi, Piyusha S" userId="0c019c91-0821-4529-9dc2-02375fba2f06" providerId="ADAL" clId="{7684E7FA-A2A6-46F5-8FD8-F60DC5D0FBFE}" dt="2023-07-25T15:45:42.538" v="477"/>
          <ac:spMkLst>
            <pc:docMk/>
            <pc:sldMk cId="4055172649" sldId="3700"/>
            <ac:spMk id="50" creationId="{52FC8EF3-6E63-AFD6-7DB3-EBF4134EB6CC}"/>
          </ac:spMkLst>
        </pc:spChg>
        <pc:spChg chg="add mod">
          <ac:chgData name="Shimpi, Piyusha S" userId="0c019c91-0821-4529-9dc2-02375fba2f06" providerId="ADAL" clId="{7684E7FA-A2A6-46F5-8FD8-F60DC5D0FBFE}" dt="2023-07-25T15:46:13.181" v="488" actId="1076"/>
          <ac:spMkLst>
            <pc:docMk/>
            <pc:sldMk cId="4055172649" sldId="3700"/>
            <ac:spMk id="51" creationId="{EE87E2AC-C1E6-7E61-C335-1F1324C57D13}"/>
          </ac:spMkLst>
        </pc:spChg>
        <pc:grpChg chg="add mod">
          <ac:chgData name="Shimpi, Piyusha S" userId="0c019c91-0821-4529-9dc2-02375fba2f06" providerId="ADAL" clId="{7684E7FA-A2A6-46F5-8FD8-F60DC5D0FBFE}" dt="2023-07-25T15:46:13.181" v="488" actId="1076"/>
          <ac:grpSpMkLst>
            <pc:docMk/>
            <pc:sldMk cId="4055172649" sldId="3700"/>
            <ac:grpSpMk id="45" creationId="{AA5F3E70-09B3-9266-93D7-E3C595FC2189}"/>
          </ac:grpSpMkLst>
        </pc:grpChg>
      </pc:sldChg>
      <pc:sldChg chg="addSp delSp modSp mod ord">
        <pc:chgData name="Shimpi, Piyusha S" userId="0c019c91-0821-4529-9dc2-02375fba2f06" providerId="ADAL" clId="{7684E7FA-A2A6-46F5-8FD8-F60DC5D0FBFE}" dt="2023-07-25T17:42:41.228" v="667" actId="1076"/>
        <pc:sldMkLst>
          <pc:docMk/>
          <pc:sldMk cId="2191462559" sldId="3701"/>
        </pc:sldMkLst>
        <pc:spChg chg="del">
          <ac:chgData name="Shimpi, Piyusha S" userId="0c019c91-0821-4529-9dc2-02375fba2f06" providerId="ADAL" clId="{7684E7FA-A2A6-46F5-8FD8-F60DC5D0FBFE}" dt="2023-07-25T15:53:36.249" v="529" actId="478"/>
          <ac:spMkLst>
            <pc:docMk/>
            <pc:sldMk cId="2191462559" sldId="3701"/>
            <ac:spMk id="2" creationId="{24B313F0-F161-C5CF-4705-9CA487A6E9C8}"/>
          </ac:spMkLst>
        </pc:spChg>
        <pc:spChg chg="del">
          <ac:chgData name="Shimpi, Piyusha S" userId="0c019c91-0821-4529-9dc2-02375fba2f06" providerId="ADAL" clId="{7684E7FA-A2A6-46F5-8FD8-F60DC5D0FBFE}" dt="2023-07-25T15:53:41.984" v="531" actId="478"/>
          <ac:spMkLst>
            <pc:docMk/>
            <pc:sldMk cId="2191462559" sldId="3701"/>
            <ac:spMk id="3" creationId="{4A3B9577-FFCC-AEF1-5B01-3B1FD1F0E913}"/>
          </ac:spMkLst>
        </pc:spChg>
        <pc:spChg chg="del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4" creationId="{5D63D0D3-6747-B3C1-82A2-952DEBCF8A0A}"/>
          </ac:spMkLst>
        </pc:spChg>
        <pc:spChg chg="del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5" creationId="{F4580722-E3FB-EA05-5A22-DF47E344C4B2}"/>
          </ac:spMkLst>
        </pc:spChg>
        <pc:spChg chg="del">
          <ac:chgData name="Shimpi, Piyusha S" userId="0c019c91-0821-4529-9dc2-02375fba2f06" providerId="ADAL" clId="{7684E7FA-A2A6-46F5-8FD8-F60DC5D0FBFE}" dt="2023-07-25T15:53:37.746" v="530" actId="478"/>
          <ac:spMkLst>
            <pc:docMk/>
            <pc:sldMk cId="2191462559" sldId="3701"/>
            <ac:spMk id="6" creationId="{6C8110BE-90CB-3527-8B9D-A39AF7773DCD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7" creationId="{F557367B-B200-F560-55E0-31CB32A67B40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8" creationId="{D940AB30-AF7E-1C99-6499-40873BCD87DB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9" creationId="{51D92B6E-A87D-FF4A-DA93-B675D90A8360}"/>
          </ac:spMkLst>
        </pc:spChg>
        <pc:spChg chg="mod">
          <ac:chgData name="Shimpi, Piyusha S" userId="0c019c91-0821-4529-9dc2-02375fba2f06" providerId="ADAL" clId="{7684E7FA-A2A6-46F5-8FD8-F60DC5D0FBFE}" dt="2023-07-25T15:53:42.676" v="532"/>
          <ac:spMkLst>
            <pc:docMk/>
            <pc:sldMk cId="2191462559" sldId="3701"/>
            <ac:spMk id="11" creationId="{FB522E7B-5E9E-A04C-FD75-60597BF5C2BF}"/>
          </ac:spMkLst>
        </pc:spChg>
        <pc:spChg chg="mod">
          <ac:chgData name="Shimpi, Piyusha S" userId="0c019c91-0821-4529-9dc2-02375fba2f06" providerId="ADAL" clId="{7684E7FA-A2A6-46F5-8FD8-F60DC5D0FBFE}" dt="2023-07-25T15:53:42.676" v="532"/>
          <ac:spMkLst>
            <pc:docMk/>
            <pc:sldMk cId="2191462559" sldId="3701"/>
            <ac:spMk id="12" creationId="{AD2904E3-A9D3-7092-758D-BAD7CD5BFF79}"/>
          </ac:spMkLst>
        </pc:spChg>
        <pc:spChg chg="mod">
          <ac:chgData name="Shimpi, Piyusha S" userId="0c019c91-0821-4529-9dc2-02375fba2f06" providerId="ADAL" clId="{7684E7FA-A2A6-46F5-8FD8-F60DC5D0FBFE}" dt="2023-07-25T15:53:42.676" v="532"/>
          <ac:spMkLst>
            <pc:docMk/>
            <pc:sldMk cId="2191462559" sldId="3701"/>
            <ac:spMk id="13" creationId="{BF480541-85AD-71D5-F9E2-E2B3D9DA6583}"/>
          </ac:spMkLst>
        </pc:spChg>
        <pc:spChg chg="mod">
          <ac:chgData name="Shimpi, Piyusha S" userId="0c019c91-0821-4529-9dc2-02375fba2f06" providerId="ADAL" clId="{7684E7FA-A2A6-46F5-8FD8-F60DC5D0FBFE}" dt="2023-07-25T15:53:42.676" v="532"/>
          <ac:spMkLst>
            <pc:docMk/>
            <pc:sldMk cId="2191462559" sldId="3701"/>
            <ac:spMk id="14" creationId="{253FEDB3-AFA9-D1BC-8FDC-80FDC57613D5}"/>
          </ac:spMkLst>
        </pc:spChg>
        <pc:spChg chg="mod">
          <ac:chgData name="Shimpi, Piyusha S" userId="0c019c91-0821-4529-9dc2-02375fba2f06" providerId="ADAL" clId="{7684E7FA-A2A6-46F5-8FD8-F60DC5D0FBFE}" dt="2023-07-25T15:53:42.676" v="532"/>
          <ac:spMkLst>
            <pc:docMk/>
            <pc:sldMk cId="2191462559" sldId="3701"/>
            <ac:spMk id="15" creationId="{4E70BF09-B8C1-5E24-72AF-A2A579137968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16" creationId="{9A01896F-CF06-9F55-7E8A-3037E686FA18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17" creationId="{0320B02B-C671-F8F2-DDC7-99B5FBD6530A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18" creationId="{ECB78C68-6F0B-8F1C-CB06-AEBA089A5A09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19" creationId="{01EE4C7B-7295-E22A-C0A6-B96EC1798D05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0" creationId="{293A21EB-4673-C15C-8BDC-10158BD48F2E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1" creationId="{0113BC23-C38E-E26D-5A72-BCB079BDE396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2" creationId="{B442B191-C729-9AB7-93CD-078C532A8CA0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3" creationId="{004FB61C-1388-F965-3F5C-FB0337F2D201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4" creationId="{5A5AD254-F9D7-0139-15AD-65DF7274971A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5" creationId="{CC349AB5-1A55-DDBB-AA7C-F11BB8344B8C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6" creationId="{31DBCCC5-6A0C-302F-20AE-0EA0B477A942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7" creationId="{130D4AA6-1262-1D36-1599-192DD23F21A2}"/>
          </ac:spMkLst>
        </pc:spChg>
        <pc:spChg chg="add del mod">
          <ac:chgData name="Shimpi, Piyusha S" userId="0c019c91-0821-4529-9dc2-02375fba2f06" providerId="ADAL" clId="{7684E7FA-A2A6-46F5-8FD8-F60DC5D0FBFE}" dt="2023-07-25T15:55:04.105" v="547" actId="478"/>
          <ac:spMkLst>
            <pc:docMk/>
            <pc:sldMk cId="2191462559" sldId="3701"/>
            <ac:spMk id="28" creationId="{8F74C8EC-92D1-43B6-53FE-FEA9C067873F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29" creationId="{CA8264A8-E01B-4C2A-854C-542CDBE16753}"/>
          </ac:spMkLst>
        </pc:spChg>
        <pc:spChg chg="add del mod">
          <ac:chgData name="Shimpi, Piyusha S" userId="0c019c91-0821-4529-9dc2-02375fba2f06" providerId="ADAL" clId="{7684E7FA-A2A6-46F5-8FD8-F60DC5D0FBFE}" dt="2023-07-25T15:55:02.403" v="546" actId="478"/>
          <ac:spMkLst>
            <pc:docMk/>
            <pc:sldMk cId="2191462559" sldId="3701"/>
            <ac:spMk id="30" creationId="{950B582D-B9E1-4CA9-531D-598D3D543D72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31" creationId="{E9BF2001-8836-AC7D-A322-E5B57294C716}"/>
          </ac:spMkLst>
        </pc:spChg>
        <pc:spChg chg="add del mod">
          <ac:chgData name="Shimpi, Piyusha S" userId="0c019c91-0821-4529-9dc2-02375fba2f06" providerId="ADAL" clId="{7684E7FA-A2A6-46F5-8FD8-F60DC5D0FBFE}" dt="2023-07-25T15:54:57.074" v="544" actId="478"/>
          <ac:spMkLst>
            <pc:docMk/>
            <pc:sldMk cId="2191462559" sldId="3701"/>
            <ac:spMk id="32" creationId="{3741FDEB-4DED-D41B-F13C-64945B568902}"/>
          </ac:spMkLst>
        </pc:spChg>
        <pc:spChg chg="add del mod">
          <ac:chgData name="Shimpi, Piyusha S" userId="0c019c91-0821-4529-9dc2-02375fba2f06" providerId="ADAL" clId="{7684E7FA-A2A6-46F5-8FD8-F60DC5D0FBFE}" dt="2023-07-25T15:54:55.517" v="543" actId="478"/>
          <ac:spMkLst>
            <pc:docMk/>
            <pc:sldMk cId="2191462559" sldId="3701"/>
            <ac:spMk id="33" creationId="{0CA26CC1-35E0-C1E6-2861-0A4A07EF1763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34" creationId="{BD19A9CB-3EE0-6830-1DEB-3A7843953CB2}"/>
          </ac:spMkLst>
        </pc:spChg>
        <pc:spChg chg="add del mod">
          <ac:chgData name="Shimpi, Piyusha S" userId="0c019c91-0821-4529-9dc2-02375fba2f06" providerId="ADAL" clId="{7684E7FA-A2A6-46F5-8FD8-F60DC5D0FBFE}" dt="2023-07-25T15:54:58.950" v="545" actId="478"/>
          <ac:spMkLst>
            <pc:docMk/>
            <pc:sldMk cId="2191462559" sldId="3701"/>
            <ac:spMk id="35" creationId="{A15164A8-DB59-EE84-97BF-F09AF6473767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36" creationId="{B130E3FF-85F8-AE83-2DFD-82911A54A420}"/>
          </ac:spMkLst>
        </pc:spChg>
        <pc:spChg chg="add del mod">
          <ac:chgData name="Shimpi, Piyusha S" userId="0c019c91-0821-4529-9dc2-02375fba2f06" providerId="ADAL" clId="{7684E7FA-A2A6-46F5-8FD8-F60DC5D0FBFE}" dt="2023-07-25T15:54:53.744" v="542" actId="478"/>
          <ac:spMkLst>
            <pc:docMk/>
            <pc:sldMk cId="2191462559" sldId="3701"/>
            <ac:spMk id="37" creationId="{6DE4096D-CA0B-1631-AD12-A89A4B76A470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38" creationId="{650BB7D7-2F78-4D81-02D5-EAD3F963C65D}"/>
          </ac:spMkLst>
        </pc:spChg>
        <pc:spChg chg="add del mod">
          <ac:chgData name="Shimpi, Piyusha S" userId="0c019c91-0821-4529-9dc2-02375fba2f06" providerId="ADAL" clId="{7684E7FA-A2A6-46F5-8FD8-F60DC5D0FBFE}" dt="2023-07-25T15:55:26.221" v="554" actId="478"/>
          <ac:spMkLst>
            <pc:docMk/>
            <pc:sldMk cId="2191462559" sldId="3701"/>
            <ac:spMk id="39" creationId="{D0CC6509-94C7-044D-830D-D3186093B470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40" creationId="{06A78FC3-7212-EE8D-6F90-F63DBD99670F}"/>
          </ac:spMkLst>
        </pc:spChg>
        <pc:spChg chg="add del mod">
          <ac:chgData name="Shimpi, Piyusha S" userId="0c019c91-0821-4529-9dc2-02375fba2f06" providerId="ADAL" clId="{7684E7FA-A2A6-46F5-8FD8-F60DC5D0FBFE}" dt="2023-07-25T15:56:39.775" v="566" actId="478"/>
          <ac:spMkLst>
            <pc:docMk/>
            <pc:sldMk cId="2191462559" sldId="3701"/>
            <ac:spMk id="41" creationId="{09AC62BD-2E9C-7D73-647D-68EEC2DEB1CE}"/>
          </ac:spMkLst>
        </pc:spChg>
        <pc:spChg chg="add del mod">
          <ac:chgData name="Shimpi, Piyusha S" userId="0c019c91-0821-4529-9dc2-02375fba2f06" providerId="ADAL" clId="{7684E7FA-A2A6-46F5-8FD8-F60DC5D0FBFE}" dt="2023-07-25T15:54:51.697" v="541" actId="478"/>
          <ac:spMkLst>
            <pc:docMk/>
            <pc:sldMk cId="2191462559" sldId="3701"/>
            <ac:spMk id="42" creationId="{409A92F4-092F-5AE0-4B58-512D4E805E5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3" creationId="{C87A13DF-80AB-AD2F-B96D-5F8250E7F4D3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4" creationId="{E060C35A-E455-EB2C-8221-3DF3293BCC70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5" creationId="{E821B43C-BF71-C07C-6E85-DD683AEAA8E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6" creationId="{1AD5E82A-B3B5-85A2-95A2-0FA0539345F0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7" creationId="{6D07204D-5C63-8FA4-A2A8-D4EE8BC33565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8" creationId="{9741A4CE-21C5-EF58-F7DE-FBF39A9BD33D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49" creationId="{D07F9E99-2AA8-6F9F-1CF1-F82DCD0D4E9D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0" creationId="{ED64BCDE-DD32-FAF2-CE3D-C4E0FE4DDAE1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1" creationId="{5B00CF75-4D98-5C55-13C9-C88CB6ED37B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2" creationId="{DE33FFBC-1CDE-A9E2-89C1-949676DCF1A4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3" creationId="{EA7BA832-3C72-171F-AC78-8977A1555BD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4" creationId="{7AE166D8-AC26-7BD3-E3F2-4B6A23B56A77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5" creationId="{127486EE-E692-7073-CCB3-8BEE2312BA36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6" creationId="{1233C0D4-6853-D06E-3CBD-9A9C208AB4C6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7" creationId="{3099965F-B2CF-F2CC-EDC1-3A556BD1C281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8" creationId="{92F2033A-1D36-F426-AC57-A4346A74AAD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59" creationId="{5AC68C73-B114-DA6E-CF25-C3F54990EB0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0" creationId="{3DE1FC9E-7C82-E8BD-D1DA-FBBE15D118CE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1" creationId="{92C980A7-AC42-18F7-CDB9-D402CF8CBB01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2" creationId="{8F5E2360-307F-FE86-E3F6-85E465A078A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3" creationId="{42378EDD-0B96-678E-FA5E-EDA0ACAFCD8F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4" creationId="{FDA8EA12-9B4C-4FDE-8D70-DCDEC6F587E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5" creationId="{A909EF1A-68DA-5354-C24B-1AFA5EE185E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6" creationId="{C644D382-516B-3B08-7A66-B10FAE15672A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7" creationId="{E98D6535-AD3F-741F-100C-AF783B2EFB5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8" creationId="{51CFB862-671E-010B-FC1D-72825948C362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69" creationId="{3C378053-8E64-B682-A7D8-AB15173AD525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70" creationId="{48CC2FBC-0E00-716F-21B4-B39AF11860E4}"/>
          </ac:spMkLst>
        </pc:spChg>
        <pc:spChg chg="mod">
          <ac:chgData name="Shimpi, Piyusha S" userId="0c019c91-0821-4529-9dc2-02375fba2f06" providerId="ADAL" clId="{7684E7FA-A2A6-46F5-8FD8-F60DC5D0FBFE}" dt="2023-07-25T15:56:37.341" v="564"/>
          <ac:spMkLst>
            <pc:docMk/>
            <pc:sldMk cId="2191462559" sldId="3701"/>
            <ac:spMk id="72" creationId="{309AB96E-8AD6-1333-B170-E32559BA5A5D}"/>
          </ac:spMkLst>
        </pc:spChg>
        <pc:spChg chg="mod">
          <ac:chgData name="Shimpi, Piyusha S" userId="0c019c91-0821-4529-9dc2-02375fba2f06" providerId="ADAL" clId="{7684E7FA-A2A6-46F5-8FD8-F60DC5D0FBFE}" dt="2023-07-25T15:56:37.341" v="564"/>
          <ac:spMkLst>
            <pc:docMk/>
            <pc:sldMk cId="2191462559" sldId="3701"/>
            <ac:spMk id="73" creationId="{9B2100FF-4466-F593-CDA1-FF97D9196CD0}"/>
          </ac:spMkLst>
        </pc:spChg>
        <pc:spChg chg="mod">
          <ac:chgData name="Shimpi, Piyusha S" userId="0c019c91-0821-4529-9dc2-02375fba2f06" providerId="ADAL" clId="{7684E7FA-A2A6-46F5-8FD8-F60DC5D0FBFE}" dt="2023-07-25T15:56:37.341" v="564"/>
          <ac:spMkLst>
            <pc:docMk/>
            <pc:sldMk cId="2191462559" sldId="3701"/>
            <ac:spMk id="74" creationId="{10D3C458-E019-14A4-E225-4F729667AB43}"/>
          </ac:spMkLst>
        </pc:spChg>
        <pc:spChg chg="mod">
          <ac:chgData name="Shimpi, Piyusha S" userId="0c019c91-0821-4529-9dc2-02375fba2f06" providerId="ADAL" clId="{7684E7FA-A2A6-46F5-8FD8-F60DC5D0FBFE}" dt="2023-07-25T15:56:37.341" v="564"/>
          <ac:spMkLst>
            <pc:docMk/>
            <pc:sldMk cId="2191462559" sldId="3701"/>
            <ac:spMk id="75" creationId="{5490F143-1B58-D009-CB9D-9DC6D1E35B4A}"/>
          </ac:spMkLst>
        </pc:spChg>
        <pc:spChg chg="mod">
          <ac:chgData name="Shimpi, Piyusha S" userId="0c019c91-0821-4529-9dc2-02375fba2f06" providerId="ADAL" clId="{7684E7FA-A2A6-46F5-8FD8-F60DC5D0FBFE}" dt="2023-07-25T15:56:37.341" v="564"/>
          <ac:spMkLst>
            <pc:docMk/>
            <pc:sldMk cId="2191462559" sldId="3701"/>
            <ac:spMk id="76" creationId="{14305B0C-77EC-B5D7-0DE8-D79DF13CC836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77" creationId="{53EB6CAB-20CE-463D-AC70-FC996AB021E0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78" creationId="{B7CAE3E1-B0A4-B6EA-7EDB-3462F4B673A7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79" creationId="{8E72F3BB-A664-9FDD-898B-381AF9253E54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0" creationId="{D96D87EE-3F67-688E-78E9-71644B3AD29C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1" creationId="{29A929DA-79BF-077E-C692-D35C65A8E949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2" creationId="{91BA96FB-3F14-5CF9-0573-BA58DA66451D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3" creationId="{CC969DC9-10E8-5EF8-95DC-AA71BCE28770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4" creationId="{18C778F9-D426-0043-ED1B-AAC92B99F450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5" creationId="{A368550B-BAC1-C2A6-467D-6945CA6C1BA4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6" creationId="{5F6F6A2E-57AD-F280-DC28-6D6676C645D2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7" creationId="{AD46CB1C-76E6-747E-D7A3-75221DCB700E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8" creationId="{D3F7A046-7D7B-66B0-839E-4327D5C7831F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89" creationId="{E7A6049B-57F7-2A24-42D3-E3A5E0D07758}"/>
          </ac:spMkLst>
        </pc:spChg>
        <pc:spChg chg="add del mod">
          <ac:chgData name="Shimpi, Piyusha S" userId="0c019c91-0821-4529-9dc2-02375fba2f06" providerId="ADAL" clId="{7684E7FA-A2A6-46F5-8FD8-F60DC5D0FBFE}" dt="2023-07-25T15:56:38.627" v="565"/>
          <ac:spMkLst>
            <pc:docMk/>
            <pc:sldMk cId="2191462559" sldId="3701"/>
            <ac:spMk id="90" creationId="{B01FA693-AA45-74F9-347F-BAFB6C94D341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1" creationId="{B9AB10EC-0E8A-0E99-8397-CC917D5571B5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2" creationId="{D8D7A8BF-C5D7-24E9-0296-DA7948D28E4B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3" creationId="{EA08077A-1C9C-C610-16FF-9986166D0658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4" creationId="{7200BD15-603B-2229-AB85-AFB10F0DC2A5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5" creationId="{F0E91F58-2B04-8ADD-6F00-96E16C54CB9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6" creationId="{6E29619D-21CA-D0BC-D669-8EC36CA9AD22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7" creationId="{5290AA93-B32E-CCA3-6A4F-6041BE69DB7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8" creationId="{0254BE80-2507-3B70-0595-CD74E8659E19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99" creationId="{221AD360-29F0-1154-78A3-15BB3AC6ABD7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0" creationId="{FE97637C-FB0F-81EC-B6FC-4D6E1B89D3FC}"/>
          </ac:spMkLst>
        </pc:spChg>
        <pc:spChg chg="add mod">
          <ac:chgData name="Shimpi, Piyusha S" userId="0c019c91-0821-4529-9dc2-02375fba2f06" providerId="ADAL" clId="{7684E7FA-A2A6-46F5-8FD8-F60DC5D0FBFE}" dt="2023-07-25T17:42:12.362" v="662" actId="1076"/>
          <ac:spMkLst>
            <pc:docMk/>
            <pc:sldMk cId="2191462559" sldId="3701"/>
            <ac:spMk id="101" creationId="{05A5DA7B-7DF0-9C13-F242-689EA0C19E5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2" creationId="{D8182A92-1457-E189-2F0A-9520E93E1F83}"/>
          </ac:spMkLst>
        </pc:spChg>
        <pc:spChg chg="add mod">
          <ac:chgData name="Shimpi, Piyusha S" userId="0c019c91-0821-4529-9dc2-02375fba2f06" providerId="ADAL" clId="{7684E7FA-A2A6-46F5-8FD8-F60DC5D0FBFE}" dt="2023-07-25T15:56:48.872" v="568" actId="1076"/>
          <ac:spMkLst>
            <pc:docMk/>
            <pc:sldMk cId="2191462559" sldId="3701"/>
            <ac:spMk id="103" creationId="{809F2FD7-9DA5-B054-CA71-8CEE4A11C9A7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4" creationId="{5036F3DD-D23B-7016-E273-35D693ACC0D2}"/>
          </ac:spMkLst>
        </pc:spChg>
        <pc:spChg chg="add mod">
          <ac:chgData name="Shimpi, Piyusha S" userId="0c019c91-0821-4529-9dc2-02375fba2f06" providerId="ADAL" clId="{7684E7FA-A2A6-46F5-8FD8-F60DC5D0FBFE}" dt="2023-07-25T17:42:41.228" v="667" actId="1076"/>
          <ac:spMkLst>
            <pc:docMk/>
            <pc:sldMk cId="2191462559" sldId="3701"/>
            <ac:spMk id="105" creationId="{28EA150F-8DFF-DEFD-38F5-381918A8CB6E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6" creationId="{9B1FE047-6917-CF0E-C8FD-44C746E13B7F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7" creationId="{3DBAE96D-1984-A0D3-38E1-D8C3CCBCDA0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8" creationId="{0C58D2E6-F54B-E488-5567-B47553910DF9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09" creationId="{E9E0B3B5-8DB0-4A82-98E8-A62EB1C9A03E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0" creationId="{4FAC0B40-04B6-792E-FBA2-9B0BD3A26182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1" creationId="{70133B7A-5A89-8343-ADF6-333F314DCE8D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2" creationId="{10B3BC6D-C143-81F1-9373-8155822A6C0D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3" creationId="{BEFD5CAF-2CC6-DBC6-4C5B-AF6E492A38A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4" creationId="{99D54B6F-B02F-6BAC-DF48-56EEB9490A63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5" creationId="{11E6975A-A6C5-21F5-E080-BEE55F3C539A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16" creationId="{8B3BA638-C4F4-08E4-FFA6-5EE799E9B63E}"/>
          </ac:spMkLst>
        </pc:spChg>
        <pc:spChg chg="add mod">
          <ac:chgData name="Shimpi, Piyusha S" userId="0c019c91-0821-4529-9dc2-02375fba2f06" providerId="ADAL" clId="{7684E7FA-A2A6-46F5-8FD8-F60DC5D0FBFE}" dt="2023-07-25T15:58:10.631" v="587" actId="1076"/>
          <ac:spMkLst>
            <pc:docMk/>
            <pc:sldMk cId="2191462559" sldId="3701"/>
            <ac:spMk id="117" creationId="{0EF8BAB9-186F-05B4-080B-A4CB018FF593}"/>
          </ac:spMkLst>
        </pc:spChg>
        <pc:spChg chg="add mod">
          <ac:chgData name="Shimpi, Piyusha S" userId="0c019c91-0821-4529-9dc2-02375fba2f06" providerId="ADAL" clId="{7684E7FA-A2A6-46F5-8FD8-F60DC5D0FBFE}" dt="2023-07-25T15:57:18.839" v="575" actId="255"/>
          <ac:spMkLst>
            <pc:docMk/>
            <pc:sldMk cId="2191462559" sldId="3701"/>
            <ac:spMk id="118" creationId="{FA7B6D06-4AD8-1257-9468-DBA2B9B7F9B6}"/>
          </ac:spMkLst>
        </pc:spChg>
        <pc:spChg chg="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0" creationId="{4B92E404-E870-A4E8-7561-6BCB832D15E4}"/>
          </ac:spMkLst>
        </pc:spChg>
        <pc:spChg chg="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1" creationId="{DBE2B2A4-E0A4-3F37-9514-2F6126E8F11C}"/>
          </ac:spMkLst>
        </pc:spChg>
        <pc:spChg chg="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2" creationId="{8B69AAF6-90E7-09CA-04F8-451DFA5B049F}"/>
          </ac:spMkLst>
        </pc:spChg>
        <pc:spChg chg="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3" creationId="{9189C44C-6FEC-E243-7C10-EF7A376E3538}"/>
          </ac:spMkLst>
        </pc:spChg>
        <pc:spChg chg="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4" creationId="{14E4A0F0-972F-77DE-70F8-0DF8EB3FE967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5" creationId="{571EFE3C-5530-A142-9F68-B1A6FDAFFBDE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6" creationId="{2F63CFF3-08B6-6E99-D691-8726AF3F0BE8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7" creationId="{B7F58F59-8043-F0DD-C2F4-C0DCD80874C1}"/>
          </ac:spMkLst>
        </pc:spChg>
        <pc:spChg chg="add mod">
          <ac:chgData name="Shimpi, Piyusha S" userId="0c019c91-0821-4529-9dc2-02375fba2f06" providerId="ADAL" clId="{7684E7FA-A2A6-46F5-8FD8-F60DC5D0FBFE}" dt="2023-07-25T15:58:56.331" v="590" actId="1076"/>
          <ac:spMkLst>
            <pc:docMk/>
            <pc:sldMk cId="2191462559" sldId="3701"/>
            <ac:spMk id="128" creationId="{795D4366-E214-DB3E-2509-3D48D3F2D8AC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29" creationId="{673239CE-168F-5AF6-E493-FE2A5763A204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30" creationId="{C7386C76-4CA6-D0B6-A0D7-B13D6700F8FD}"/>
          </ac:spMkLst>
        </pc:spChg>
        <pc:spChg chg="add mod">
          <ac:chgData name="Shimpi, Piyusha S" userId="0c019c91-0821-4529-9dc2-02375fba2f06" providerId="ADAL" clId="{7684E7FA-A2A6-46F5-8FD8-F60DC5D0FBFE}" dt="2023-07-25T15:57:06.890" v="572" actId="403"/>
          <ac:spMkLst>
            <pc:docMk/>
            <pc:sldMk cId="2191462559" sldId="3701"/>
            <ac:spMk id="131" creationId="{F96D8FC8-C27D-BD02-4005-D016C6FE167D}"/>
          </ac:spMkLst>
        </pc:spChg>
        <pc:spChg chg="add mod">
          <ac:chgData name="Shimpi, Piyusha S" userId="0c019c91-0821-4529-9dc2-02375fba2f06" providerId="ADAL" clId="{7684E7FA-A2A6-46F5-8FD8-F60DC5D0FBFE}" dt="2023-07-25T15:58:18.838" v="588" actId="1076"/>
          <ac:spMkLst>
            <pc:docMk/>
            <pc:sldMk cId="2191462559" sldId="3701"/>
            <ac:spMk id="132" creationId="{9FBBDF00-F473-024C-946A-1CE440A8B44B}"/>
          </ac:spMkLst>
        </pc:spChg>
        <pc:spChg chg="add mod">
          <ac:chgData name="Shimpi, Piyusha S" userId="0c019c91-0821-4529-9dc2-02375fba2f06" providerId="ADAL" clId="{7684E7FA-A2A6-46F5-8FD8-F60DC5D0FBFE}" dt="2023-07-25T15:58:01.983" v="586" actId="1076"/>
          <ac:spMkLst>
            <pc:docMk/>
            <pc:sldMk cId="2191462559" sldId="3701"/>
            <ac:spMk id="133" creationId="{EFCD9826-D2B4-FB98-3359-DE80F9284C6F}"/>
          </ac:spMkLst>
        </pc:spChg>
        <pc:spChg chg="add mod">
          <ac:chgData name="Shimpi, Piyusha S" userId="0c019c91-0821-4529-9dc2-02375fba2f06" providerId="ADAL" clId="{7684E7FA-A2A6-46F5-8FD8-F60DC5D0FBFE}" dt="2023-07-25T15:57:51.856" v="585" actId="403"/>
          <ac:spMkLst>
            <pc:docMk/>
            <pc:sldMk cId="2191462559" sldId="3701"/>
            <ac:spMk id="134" creationId="{9FDC8DD5-F0C4-8303-81C7-C4F58139BEB4}"/>
          </ac:spMkLst>
        </pc:spChg>
        <pc:spChg chg="add mod">
          <ac:chgData name="Shimpi, Piyusha S" userId="0c019c91-0821-4529-9dc2-02375fba2f06" providerId="ADAL" clId="{7684E7FA-A2A6-46F5-8FD8-F60DC5D0FBFE}" dt="2023-07-25T15:58:35.841" v="589" actId="1076"/>
          <ac:spMkLst>
            <pc:docMk/>
            <pc:sldMk cId="2191462559" sldId="3701"/>
            <ac:spMk id="135" creationId="{D214FC28-1A5F-CD69-53CB-3299FB826EEC}"/>
          </ac:spMkLst>
        </pc:spChg>
        <pc:spChg chg="add mod">
          <ac:chgData name="Shimpi, Piyusha S" userId="0c019c91-0821-4529-9dc2-02375fba2f06" providerId="ADAL" clId="{7684E7FA-A2A6-46F5-8FD8-F60DC5D0FBFE}" dt="2023-07-25T15:57:42.389" v="583" actId="403"/>
          <ac:spMkLst>
            <pc:docMk/>
            <pc:sldMk cId="2191462559" sldId="3701"/>
            <ac:spMk id="136" creationId="{5AE4A334-3986-E0B1-A81F-6AE4B195BAB0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37" creationId="{9F2B7D42-9804-3D3E-2AD9-25176ABC216E}"/>
          </ac:spMkLst>
        </pc:spChg>
        <pc:spChg chg="add mod">
          <ac:chgData name="Shimpi, Piyusha S" userId="0c019c91-0821-4529-9dc2-02375fba2f06" providerId="ADAL" clId="{7684E7FA-A2A6-46F5-8FD8-F60DC5D0FBFE}" dt="2023-07-25T15:56:40.569" v="567"/>
          <ac:spMkLst>
            <pc:docMk/>
            <pc:sldMk cId="2191462559" sldId="3701"/>
            <ac:spMk id="138" creationId="{5DBC963B-C6AA-B2CD-8A3D-8FEFC9385D8A}"/>
          </ac:spMkLst>
        </pc:spChg>
        <pc:grpChg chg="add del mod">
          <ac:chgData name="Shimpi, Piyusha S" userId="0c019c91-0821-4529-9dc2-02375fba2f06" providerId="ADAL" clId="{7684E7FA-A2A6-46F5-8FD8-F60DC5D0FBFE}" dt="2023-07-25T15:56:39.775" v="566" actId="478"/>
          <ac:grpSpMkLst>
            <pc:docMk/>
            <pc:sldMk cId="2191462559" sldId="3701"/>
            <ac:grpSpMk id="10" creationId="{52458D33-121F-6473-626A-361DFC2D0147}"/>
          </ac:grpSpMkLst>
        </pc:grpChg>
        <pc:grpChg chg="add del mod">
          <ac:chgData name="Shimpi, Piyusha S" userId="0c019c91-0821-4529-9dc2-02375fba2f06" providerId="ADAL" clId="{7684E7FA-A2A6-46F5-8FD8-F60DC5D0FBFE}" dt="2023-07-25T15:56:38.627" v="565"/>
          <ac:grpSpMkLst>
            <pc:docMk/>
            <pc:sldMk cId="2191462559" sldId="3701"/>
            <ac:grpSpMk id="71" creationId="{271C45D8-E3D8-91FC-61F3-7DFD86F94A6B}"/>
          </ac:grpSpMkLst>
        </pc:grpChg>
        <pc:grpChg chg="add mod">
          <ac:chgData name="Shimpi, Piyusha S" userId="0c019c91-0821-4529-9dc2-02375fba2f06" providerId="ADAL" clId="{7684E7FA-A2A6-46F5-8FD8-F60DC5D0FBFE}" dt="2023-07-25T15:56:40.569" v="567"/>
          <ac:grpSpMkLst>
            <pc:docMk/>
            <pc:sldMk cId="2191462559" sldId="3701"/>
            <ac:grpSpMk id="119" creationId="{27B2A0CF-258B-7E3B-DF58-1D7E93042E8E}"/>
          </ac:grpSpMkLst>
        </pc:grpChg>
      </pc:sldChg>
      <pc:sldChg chg="addSp delSp modSp add mod">
        <pc:chgData name="Shimpi, Piyusha S" userId="0c019c91-0821-4529-9dc2-02375fba2f06" providerId="ADAL" clId="{7684E7FA-A2A6-46F5-8FD8-F60DC5D0FBFE}" dt="2023-07-26T04:54:29.254" v="675" actId="1076"/>
        <pc:sldMkLst>
          <pc:docMk/>
          <pc:sldMk cId="1041240072" sldId="3702"/>
        </pc:sldMkLst>
        <pc:spChg chg="del">
          <ac:chgData name="Shimpi, Piyusha S" userId="0c019c91-0821-4529-9dc2-02375fba2f06" providerId="ADAL" clId="{7684E7FA-A2A6-46F5-8FD8-F60DC5D0FBFE}" dt="2023-07-25T17:11:12.390" v="621" actId="478"/>
          <ac:spMkLst>
            <pc:docMk/>
            <pc:sldMk cId="1041240072" sldId="3702"/>
            <ac:spMk id="4" creationId="{D9869BDB-5EA3-D4C6-5881-37B2E1207DFD}"/>
          </ac:spMkLst>
        </pc:spChg>
        <pc:spChg chg="del mod">
          <ac:chgData name="Shimpi, Piyusha S" userId="0c019c91-0821-4529-9dc2-02375fba2f06" providerId="ADAL" clId="{7684E7FA-A2A6-46F5-8FD8-F60DC5D0FBFE}" dt="2023-07-25T17:11:19.883" v="624" actId="478"/>
          <ac:spMkLst>
            <pc:docMk/>
            <pc:sldMk cId="1041240072" sldId="3702"/>
            <ac:spMk id="7" creationId="{048EBA06-EB81-100E-9CF3-C17A6EDAA5D8}"/>
          </ac:spMkLst>
        </pc:spChg>
        <pc:spChg chg="mod">
          <ac:chgData name="Shimpi, Piyusha S" userId="0c019c91-0821-4529-9dc2-02375fba2f06" providerId="ADAL" clId="{7684E7FA-A2A6-46F5-8FD8-F60DC5D0FBFE}" dt="2023-07-26T04:51:18.650" v="670" actId="207"/>
          <ac:spMkLst>
            <pc:docMk/>
            <pc:sldMk cId="1041240072" sldId="3702"/>
            <ac:spMk id="8" creationId="{D853EDD1-193E-9B78-FA53-78AE482D8420}"/>
          </ac:spMkLst>
        </pc:spChg>
        <pc:spChg chg="mod">
          <ac:chgData name="Shimpi, Piyusha S" userId="0c019c91-0821-4529-9dc2-02375fba2f06" providerId="ADAL" clId="{7684E7FA-A2A6-46F5-8FD8-F60DC5D0FBFE}" dt="2023-07-26T04:51:22.267" v="671" actId="207"/>
          <ac:spMkLst>
            <pc:docMk/>
            <pc:sldMk cId="1041240072" sldId="3702"/>
            <ac:spMk id="9" creationId="{BF27A660-FD3E-FAE5-CB85-19AB7ED82680}"/>
          </ac:spMkLst>
        </pc:spChg>
        <pc:spChg chg="mod">
          <ac:chgData name="Shimpi, Piyusha S" userId="0c019c91-0821-4529-9dc2-02375fba2f06" providerId="ADAL" clId="{7684E7FA-A2A6-46F5-8FD8-F60DC5D0FBFE}" dt="2023-07-25T17:14:17.050" v="651" actId="1076"/>
          <ac:spMkLst>
            <pc:docMk/>
            <pc:sldMk cId="1041240072" sldId="3702"/>
            <ac:spMk id="24" creationId="{6F2C7CF3-7AA3-2DBA-ACBE-22ACC5A12363}"/>
          </ac:spMkLst>
        </pc:spChg>
        <pc:spChg chg="mod">
          <ac:chgData name="Shimpi, Piyusha S" userId="0c019c91-0821-4529-9dc2-02375fba2f06" providerId="ADAL" clId="{7684E7FA-A2A6-46F5-8FD8-F60DC5D0FBFE}" dt="2023-07-25T17:12:07.911" v="632" actId="1076"/>
          <ac:spMkLst>
            <pc:docMk/>
            <pc:sldMk cId="1041240072" sldId="3702"/>
            <ac:spMk id="25" creationId="{BCDAC978-68BF-E19F-99E4-64A0D67BE3FE}"/>
          </ac:spMkLst>
        </pc:spChg>
        <pc:graphicFrameChg chg="mod">
          <ac:chgData name="Shimpi, Piyusha S" userId="0c019c91-0821-4529-9dc2-02375fba2f06" providerId="ADAL" clId="{7684E7FA-A2A6-46F5-8FD8-F60DC5D0FBFE}" dt="2023-07-26T04:51:39.614" v="672" actId="1076"/>
          <ac:graphicFrameMkLst>
            <pc:docMk/>
            <pc:sldMk cId="1041240072" sldId="3702"/>
            <ac:graphicFrameMk id="14" creationId="{29FBC60E-2242-5584-6789-9E009A8C361C}"/>
          </ac:graphicFrameMkLst>
        </pc:graphicFrameChg>
        <pc:graphicFrameChg chg="del">
          <ac:chgData name="Shimpi, Piyusha S" userId="0c019c91-0821-4529-9dc2-02375fba2f06" providerId="ADAL" clId="{7684E7FA-A2A6-46F5-8FD8-F60DC5D0FBFE}" dt="2023-07-25T17:11:15.771" v="622" actId="478"/>
          <ac:graphicFrameMkLst>
            <pc:docMk/>
            <pc:sldMk cId="1041240072" sldId="3702"/>
            <ac:graphicFrameMk id="16" creationId="{04984B79-A3E0-C8B7-FE4A-DC3110B360C9}"/>
          </ac:graphicFrameMkLst>
        </pc:graphicFrameChg>
        <pc:graphicFrameChg chg="del">
          <ac:chgData name="Shimpi, Piyusha S" userId="0c019c91-0821-4529-9dc2-02375fba2f06" providerId="ADAL" clId="{7684E7FA-A2A6-46F5-8FD8-F60DC5D0FBFE}" dt="2023-07-25T17:11:10.156" v="620" actId="478"/>
          <ac:graphicFrameMkLst>
            <pc:docMk/>
            <pc:sldMk cId="1041240072" sldId="3702"/>
            <ac:graphicFrameMk id="20" creationId="{ACCE8555-74B7-43A2-E8A4-BB2A1473667F}"/>
          </ac:graphicFrameMkLst>
        </pc:graphicFrameChg>
        <pc:graphicFrameChg chg="mod">
          <ac:chgData name="Shimpi, Piyusha S" userId="0c019c91-0821-4529-9dc2-02375fba2f06" providerId="ADAL" clId="{7684E7FA-A2A6-46F5-8FD8-F60DC5D0FBFE}" dt="2023-07-26T04:51:55.108" v="674" actId="1076"/>
          <ac:graphicFrameMkLst>
            <pc:docMk/>
            <pc:sldMk cId="1041240072" sldId="3702"/>
            <ac:graphicFrameMk id="22" creationId="{A9C7946C-6035-E350-FEFF-63B98EBAD4A0}"/>
          </ac:graphicFrameMkLst>
        </pc:graphicFrameChg>
        <pc:picChg chg="mod">
          <ac:chgData name="Shimpi, Piyusha S" userId="0c019c91-0821-4529-9dc2-02375fba2f06" providerId="ADAL" clId="{7684E7FA-A2A6-46F5-8FD8-F60DC5D0FBFE}" dt="2023-07-25T17:14:57.448" v="657" actId="14100"/>
          <ac:picMkLst>
            <pc:docMk/>
            <pc:sldMk cId="1041240072" sldId="3702"/>
            <ac:picMk id="2" creationId="{358D5B13-1BB9-2567-74EA-4B43838CA054}"/>
          </ac:picMkLst>
        </pc:picChg>
        <pc:picChg chg="mod">
          <ac:chgData name="Shimpi, Piyusha S" userId="0c019c91-0821-4529-9dc2-02375fba2f06" providerId="ADAL" clId="{7684E7FA-A2A6-46F5-8FD8-F60DC5D0FBFE}" dt="2023-07-25T17:14:47.839" v="656" actId="14100"/>
          <ac:picMkLst>
            <pc:docMk/>
            <pc:sldMk cId="1041240072" sldId="3702"/>
            <ac:picMk id="6" creationId="{28E45702-3E37-A2F5-AF05-390E8751AA42}"/>
          </ac:picMkLst>
        </pc:picChg>
        <pc:picChg chg="add mod">
          <ac:chgData name="Shimpi, Piyusha S" userId="0c019c91-0821-4529-9dc2-02375fba2f06" providerId="ADAL" clId="{7684E7FA-A2A6-46F5-8FD8-F60DC5D0FBFE}" dt="2023-07-26T04:54:29.254" v="675" actId="1076"/>
          <ac:picMkLst>
            <pc:docMk/>
            <pc:sldMk cId="1041240072" sldId="3702"/>
            <ac:picMk id="10" creationId="{D823A371-3CD7-1B39-B294-268D4BD49590}"/>
          </ac:picMkLst>
        </pc:picChg>
        <pc:picChg chg="add mod">
          <ac:chgData name="Shimpi, Piyusha S" userId="0c019c91-0821-4529-9dc2-02375fba2f06" providerId="ADAL" clId="{7684E7FA-A2A6-46F5-8FD8-F60DC5D0FBFE}" dt="2023-07-26T04:51:06.446" v="669" actId="1076"/>
          <ac:picMkLst>
            <pc:docMk/>
            <pc:sldMk cId="1041240072" sldId="3702"/>
            <ac:picMk id="11" creationId="{1840DC31-4E33-BFF9-2DDD-23191A4F69E3}"/>
          </ac:picMkLst>
        </pc:picChg>
        <pc:picChg chg="del">
          <ac:chgData name="Shimpi, Piyusha S" userId="0c019c91-0821-4529-9dc2-02375fba2f06" providerId="ADAL" clId="{7684E7FA-A2A6-46F5-8FD8-F60DC5D0FBFE}" dt="2023-07-25T17:12:40.532" v="636" actId="478"/>
          <ac:picMkLst>
            <pc:docMk/>
            <pc:sldMk cId="1041240072" sldId="3702"/>
            <ac:picMk id="1030" creationId="{60B18B1D-1B6E-06C9-8D38-5D386CB140CA}"/>
          </ac:picMkLst>
        </pc:picChg>
        <pc:picChg chg="del mod">
          <ac:chgData name="Shimpi, Piyusha S" userId="0c019c91-0821-4529-9dc2-02375fba2f06" providerId="ADAL" clId="{7684E7FA-A2A6-46F5-8FD8-F60DC5D0FBFE}" dt="2023-07-25T17:12:42.464" v="637" actId="478"/>
          <ac:picMkLst>
            <pc:docMk/>
            <pc:sldMk cId="1041240072" sldId="3702"/>
            <ac:picMk id="3074" creationId="{8092548F-3286-17AE-99D6-18DA291A7366}"/>
          </ac:picMkLst>
        </pc:picChg>
      </pc:sldChg>
      <pc:sldMasterChg chg="delSldLayout">
        <pc:chgData name="Shimpi, Piyusha S" userId="0c019c91-0821-4529-9dc2-02375fba2f06" providerId="ADAL" clId="{7684E7FA-A2A6-46F5-8FD8-F60DC5D0FBFE}" dt="2023-07-25T15:59:12.875" v="591" actId="47"/>
        <pc:sldMasterMkLst>
          <pc:docMk/>
          <pc:sldMasterMk cId="2021956155" sldId="2147483648"/>
        </pc:sldMasterMkLst>
        <pc:sldLayoutChg chg="del">
          <pc:chgData name="Shimpi, Piyusha S" userId="0c019c91-0821-4529-9dc2-02375fba2f06" providerId="ADAL" clId="{7684E7FA-A2A6-46F5-8FD8-F60DC5D0FBFE}" dt="2023-07-25T15:59:12.875" v="591" actId="47"/>
          <pc:sldLayoutMkLst>
            <pc:docMk/>
            <pc:sldMasterMk cId="2021956155" sldId="2147483648"/>
            <pc:sldLayoutMk cId="2137125973" sldId="2147483785"/>
          </pc:sldLayoutMkLst>
        </pc:sldLayoutChg>
      </pc:sldMasterChg>
    </pc:docChg>
  </pc:docChgLst>
  <pc:docChgLst>
    <pc:chgData name="Kapalavayi, Ramya S" userId="da89255d-45c7-4da7-97eb-f3f90abcfd0b" providerId="ADAL" clId="{095B7AFA-B21F-452A-83AF-A20CF846C450}"/>
    <pc:docChg chg="undo custSel addSld delSld modSld sldOrd modSection">
      <pc:chgData name="Kapalavayi, Ramya S" userId="da89255d-45c7-4da7-97eb-f3f90abcfd0b" providerId="ADAL" clId="{095B7AFA-B21F-452A-83AF-A20CF846C450}" dt="2023-07-25T10:28:01.244" v="133" actId="1036"/>
      <pc:docMkLst>
        <pc:docMk/>
      </pc:docMkLst>
      <pc:sldChg chg="modSp mod">
        <pc:chgData name="Kapalavayi, Ramya S" userId="da89255d-45c7-4da7-97eb-f3f90abcfd0b" providerId="ADAL" clId="{095B7AFA-B21F-452A-83AF-A20CF846C450}" dt="2023-07-25T10:28:01.244" v="133" actId="1036"/>
        <pc:sldMkLst>
          <pc:docMk/>
          <pc:sldMk cId="374220009" sldId="3607"/>
        </pc:sldMkLst>
        <pc:picChg chg="mod">
          <ac:chgData name="Kapalavayi, Ramya S" userId="da89255d-45c7-4da7-97eb-f3f90abcfd0b" providerId="ADAL" clId="{095B7AFA-B21F-452A-83AF-A20CF846C450}" dt="2023-07-25T10:28:01.244" v="133" actId="1036"/>
          <ac:picMkLst>
            <pc:docMk/>
            <pc:sldMk cId="374220009" sldId="3607"/>
            <ac:picMk id="5" creationId="{7D538574-47DC-4BB9-6C73-0F339E094983}"/>
          </ac:picMkLst>
        </pc:picChg>
      </pc:sldChg>
      <pc:sldChg chg="modSp mod">
        <pc:chgData name="Kapalavayi, Ramya S" userId="da89255d-45c7-4da7-97eb-f3f90abcfd0b" providerId="ADAL" clId="{095B7AFA-B21F-452A-83AF-A20CF846C450}" dt="2023-07-25T05:28:17.171" v="12" actId="20577"/>
        <pc:sldMkLst>
          <pc:docMk/>
          <pc:sldMk cId="3288433710" sldId="3668"/>
        </pc:sldMkLst>
        <pc:spChg chg="mod">
          <ac:chgData name="Kapalavayi, Ramya S" userId="da89255d-45c7-4da7-97eb-f3f90abcfd0b" providerId="ADAL" clId="{095B7AFA-B21F-452A-83AF-A20CF846C450}" dt="2023-07-25T05:28:17.171" v="12" actId="20577"/>
          <ac:spMkLst>
            <pc:docMk/>
            <pc:sldMk cId="3288433710" sldId="3668"/>
            <ac:spMk id="2" creationId="{9A7983BD-92D8-A770-7824-C5E1F25185A1}"/>
          </ac:spMkLst>
        </pc:spChg>
      </pc:sldChg>
      <pc:sldChg chg="ord">
        <pc:chgData name="Kapalavayi, Ramya S" userId="da89255d-45c7-4da7-97eb-f3f90abcfd0b" providerId="ADAL" clId="{095B7AFA-B21F-452A-83AF-A20CF846C450}" dt="2023-07-25T10:01:47.901" v="130"/>
        <pc:sldMkLst>
          <pc:docMk/>
          <pc:sldMk cId="1914518731" sldId="3677"/>
        </pc:sldMkLst>
      </pc:sldChg>
      <pc:sldChg chg="modSp mod">
        <pc:chgData name="Kapalavayi, Ramya S" userId="da89255d-45c7-4da7-97eb-f3f90abcfd0b" providerId="ADAL" clId="{095B7AFA-B21F-452A-83AF-A20CF846C450}" dt="2023-07-25T05:27:56.453" v="0" actId="1036"/>
        <pc:sldMkLst>
          <pc:docMk/>
          <pc:sldMk cId="400507667" sldId="3682"/>
        </pc:sldMkLst>
        <pc:spChg chg="mod">
          <ac:chgData name="Kapalavayi, Ramya S" userId="da89255d-45c7-4da7-97eb-f3f90abcfd0b" providerId="ADAL" clId="{095B7AFA-B21F-452A-83AF-A20CF846C450}" dt="2023-07-25T05:27:56.453" v="0" actId="1036"/>
          <ac:spMkLst>
            <pc:docMk/>
            <pc:sldMk cId="400507667" sldId="3682"/>
            <ac:spMk id="13" creationId="{06DA6F9A-1C86-7A09-1942-E9B244625C64}"/>
          </ac:spMkLst>
        </pc:spChg>
      </pc:sldChg>
      <pc:sldChg chg="modSp mod">
        <pc:chgData name="Kapalavayi, Ramya S" userId="da89255d-45c7-4da7-97eb-f3f90abcfd0b" providerId="ADAL" clId="{095B7AFA-B21F-452A-83AF-A20CF846C450}" dt="2023-07-25T06:09:43.313" v="119" actId="313"/>
        <pc:sldMkLst>
          <pc:docMk/>
          <pc:sldMk cId="2365724163" sldId="3685"/>
        </pc:sldMkLst>
        <pc:spChg chg="mod">
          <ac:chgData name="Kapalavayi, Ramya S" userId="da89255d-45c7-4da7-97eb-f3f90abcfd0b" providerId="ADAL" clId="{095B7AFA-B21F-452A-83AF-A20CF846C450}" dt="2023-07-25T05:57:34.505" v="53" actId="339"/>
          <ac:spMkLst>
            <pc:docMk/>
            <pc:sldMk cId="2365724163" sldId="3685"/>
            <ac:spMk id="4" creationId="{4BA4F9F5-93EE-31A1-FBED-2A33A05A6EB2}"/>
          </ac:spMkLst>
        </pc:spChg>
        <pc:spChg chg="mod">
          <ac:chgData name="Kapalavayi, Ramya S" userId="da89255d-45c7-4da7-97eb-f3f90abcfd0b" providerId="ADAL" clId="{095B7AFA-B21F-452A-83AF-A20CF846C450}" dt="2023-07-25T06:08:10.128" v="116" actId="1076"/>
          <ac:spMkLst>
            <pc:docMk/>
            <pc:sldMk cId="2365724163" sldId="3685"/>
            <ac:spMk id="5" creationId="{77A83CFE-9526-1DFD-1048-DB4A1744327E}"/>
          </ac:spMkLst>
        </pc:spChg>
        <pc:graphicFrameChg chg="mod">
          <ac:chgData name="Kapalavayi, Ramya S" userId="da89255d-45c7-4da7-97eb-f3f90abcfd0b" providerId="ADAL" clId="{095B7AFA-B21F-452A-83AF-A20CF846C450}" dt="2023-07-25T06:09:43.313" v="119" actId="313"/>
          <ac:graphicFrameMkLst>
            <pc:docMk/>
            <pc:sldMk cId="2365724163" sldId="3685"/>
            <ac:graphicFrameMk id="3" creationId="{F2AC375C-0224-506B-95B0-B87548D7E617}"/>
          </ac:graphicFrameMkLst>
        </pc:graphicFrameChg>
      </pc:sldChg>
      <pc:sldChg chg="modSp mod">
        <pc:chgData name="Kapalavayi, Ramya S" userId="da89255d-45c7-4da7-97eb-f3f90abcfd0b" providerId="ADAL" clId="{095B7AFA-B21F-452A-83AF-A20CF846C450}" dt="2023-07-25T05:29:10.534" v="51" actId="1076"/>
        <pc:sldMkLst>
          <pc:docMk/>
          <pc:sldMk cId="2275920435" sldId="3686"/>
        </pc:sldMkLst>
        <pc:spChg chg="mod">
          <ac:chgData name="Kapalavayi, Ramya S" userId="da89255d-45c7-4da7-97eb-f3f90abcfd0b" providerId="ADAL" clId="{095B7AFA-B21F-452A-83AF-A20CF846C450}" dt="2023-07-25T05:28:47.950" v="50" actId="20577"/>
          <ac:spMkLst>
            <pc:docMk/>
            <pc:sldMk cId="2275920435" sldId="3686"/>
            <ac:spMk id="5" creationId="{CEBE41A6-A0C1-9510-C79D-851D964FCD82}"/>
          </ac:spMkLst>
        </pc:spChg>
        <pc:picChg chg="mod">
          <ac:chgData name="Kapalavayi, Ramya S" userId="da89255d-45c7-4da7-97eb-f3f90abcfd0b" providerId="ADAL" clId="{095B7AFA-B21F-452A-83AF-A20CF846C450}" dt="2023-07-25T05:29:10.534" v="51" actId="1076"/>
          <ac:picMkLst>
            <pc:docMk/>
            <pc:sldMk cId="2275920435" sldId="3686"/>
            <ac:picMk id="11" creationId="{3782AB82-C436-01F3-A0CB-E0C02DC4DBE2}"/>
          </ac:picMkLst>
        </pc:picChg>
      </pc:sldChg>
      <pc:sldChg chg="modSp mod">
        <pc:chgData name="Kapalavayi, Ramya S" userId="da89255d-45c7-4da7-97eb-f3f90abcfd0b" providerId="ADAL" clId="{095B7AFA-B21F-452A-83AF-A20CF846C450}" dt="2023-07-25T06:25:27.348" v="128" actId="14100"/>
        <pc:sldMkLst>
          <pc:docMk/>
          <pc:sldMk cId="3225873929" sldId="3689"/>
        </pc:sldMkLst>
        <pc:graphicFrameChg chg="mod">
          <ac:chgData name="Kapalavayi, Ramya S" userId="da89255d-45c7-4da7-97eb-f3f90abcfd0b" providerId="ADAL" clId="{095B7AFA-B21F-452A-83AF-A20CF846C450}" dt="2023-07-25T06:25:27.348" v="128" actId="14100"/>
          <ac:graphicFrameMkLst>
            <pc:docMk/>
            <pc:sldMk cId="3225873929" sldId="3689"/>
            <ac:graphicFrameMk id="20" creationId="{ACCE8555-74B7-43A2-E8A4-BB2A1473667F}"/>
          </ac:graphicFrameMkLst>
        </pc:graphicFrameChg>
      </pc:sldChg>
      <pc:sldChg chg="modSp">
        <pc:chgData name="Kapalavayi, Ramya S" userId="da89255d-45c7-4da7-97eb-f3f90abcfd0b" providerId="ADAL" clId="{095B7AFA-B21F-452A-83AF-A20CF846C450}" dt="2023-07-25T06:14:53.930" v="124" actId="12094"/>
        <pc:sldMkLst>
          <pc:docMk/>
          <pc:sldMk cId="3016465716" sldId="3690"/>
        </pc:sldMkLst>
        <pc:graphicFrameChg chg="mod">
          <ac:chgData name="Kapalavayi, Ramya S" userId="da89255d-45c7-4da7-97eb-f3f90abcfd0b" providerId="ADAL" clId="{095B7AFA-B21F-452A-83AF-A20CF846C450}" dt="2023-07-25T06:14:53.930" v="124" actId="12094"/>
          <ac:graphicFrameMkLst>
            <pc:docMk/>
            <pc:sldMk cId="3016465716" sldId="3690"/>
            <ac:graphicFrameMk id="3" creationId="{F2AC375C-0224-506B-95B0-B87548D7E617}"/>
          </ac:graphicFrameMkLst>
        </pc:graphicFrameChg>
      </pc:sldChg>
      <pc:sldChg chg="addSp modSp add del mod">
        <pc:chgData name="Kapalavayi, Ramya S" userId="da89255d-45c7-4da7-97eb-f3f90abcfd0b" providerId="ADAL" clId="{095B7AFA-B21F-452A-83AF-A20CF846C450}" dt="2023-07-25T06:09:27.748" v="118" actId="47"/>
        <pc:sldMkLst>
          <pc:docMk/>
          <pc:sldMk cId="3246715790" sldId="3690"/>
        </pc:sldMkLst>
        <pc:spChg chg="mod">
          <ac:chgData name="Kapalavayi, Ramya S" userId="da89255d-45c7-4da7-97eb-f3f90abcfd0b" providerId="ADAL" clId="{095B7AFA-B21F-452A-83AF-A20CF846C450}" dt="2023-07-25T05:58:25.703" v="57" actId="1076"/>
          <ac:spMkLst>
            <pc:docMk/>
            <pc:sldMk cId="3246715790" sldId="3690"/>
            <ac:spMk id="5" creationId="{77A83CFE-9526-1DFD-1048-DB4A1744327E}"/>
          </ac:spMkLst>
        </pc:spChg>
        <pc:graphicFrameChg chg="add mod modGraphic">
          <ac:chgData name="Kapalavayi, Ramya S" userId="da89255d-45c7-4da7-97eb-f3f90abcfd0b" providerId="ADAL" clId="{095B7AFA-B21F-452A-83AF-A20CF846C450}" dt="2023-07-25T06:02:41.956" v="82" actId="478"/>
          <ac:graphicFrameMkLst>
            <pc:docMk/>
            <pc:sldMk cId="3246715790" sldId="3690"/>
            <ac:graphicFrameMk id="2" creationId="{C0B3F901-8138-A307-08AA-E972BA0E8BC6}"/>
          </ac:graphicFrameMkLst>
        </pc:graphicFrameChg>
        <pc:graphicFrameChg chg="mod">
          <ac:chgData name="Kapalavayi, Ramya S" userId="da89255d-45c7-4da7-97eb-f3f90abcfd0b" providerId="ADAL" clId="{095B7AFA-B21F-452A-83AF-A20CF846C450}" dt="2023-07-25T05:58:52.828" v="59" actId="339"/>
          <ac:graphicFrameMkLst>
            <pc:docMk/>
            <pc:sldMk cId="3246715790" sldId="3690"/>
            <ac:graphicFrameMk id="3" creationId="{F2AC375C-0224-506B-95B0-B87548D7E617}"/>
          </ac:graphicFrameMkLst>
        </pc:graphicFrameChg>
        <pc:graphicFrameChg chg="add mod modGraphic">
          <ac:chgData name="Kapalavayi, Ramya S" userId="da89255d-45c7-4da7-97eb-f3f90abcfd0b" providerId="ADAL" clId="{095B7AFA-B21F-452A-83AF-A20CF846C450}" dt="2023-07-25T06:04:33.678" v="97"/>
          <ac:graphicFrameMkLst>
            <pc:docMk/>
            <pc:sldMk cId="3246715790" sldId="3690"/>
            <ac:graphicFrameMk id="6" creationId="{6E9AFBF0-8E7B-1D87-A782-0CDCD3B473C7}"/>
          </ac:graphicFrameMkLst>
        </pc:graphicFrameChg>
      </pc:sldChg>
      <pc:sldChg chg="modSp">
        <pc:chgData name="Kapalavayi, Ramya S" userId="da89255d-45c7-4da7-97eb-f3f90abcfd0b" providerId="ADAL" clId="{095B7AFA-B21F-452A-83AF-A20CF846C450}" dt="2023-07-25T06:24:33.779" v="127" actId="339"/>
        <pc:sldMkLst>
          <pc:docMk/>
          <pc:sldMk cId="3561700688" sldId="3692"/>
        </pc:sldMkLst>
        <pc:graphicFrameChg chg="mod">
          <ac:chgData name="Kapalavayi, Ramya S" userId="da89255d-45c7-4da7-97eb-f3f90abcfd0b" providerId="ADAL" clId="{095B7AFA-B21F-452A-83AF-A20CF846C450}" dt="2023-07-25T06:24:33.779" v="127" actId="339"/>
          <ac:graphicFrameMkLst>
            <pc:docMk/>
            <pc:sldMk cId="3561700688" sldId="3692"/>
            <ac:graphicFrameMk id="3" creationId="{F2AC375C-0224-506B-95B0-B87548D7E617}"/>
          </ac:graphicFrameMkLst>
        </pc:graphicFrameChg>
      </pc:sldChg>
      <pc:sldChg chg="ord">
        <pc:chgData name="Kapalavayi, Ramya S" userId="da89255d-45c7-4da7-97eb-f3f90abcfd0b" providerId="ADAL" clId="{095B7AFA-B21F-452A-83AF-A20CF846C450}" dt="2023-07-25T10:01:54.148" v="132"/>
        <pc:sldMkLst>
          <pc:docMk/>
          <pc:sldMk cId="2421048366" sldId="3693"/>
        </pc:sldMkLst>
      </pc:sldChg>
    </pc:docChg>
  </pc:docChgLst>
  <pc:docChgLst>
    <pc:chgData name="Rath, Raghav" userId="S::raghav.rath@providence.org::71c1033f-1830-4801-9e6b-dc24ae31a985" providerId="AD" clId="Web-{A9CEB043-DCA1-4CB9-98BF-1C2D76655B9B}"/>
    <pc:docChg chg="modSld sldOrd">
      <pc:chgData name="Rath, Raghav" userId="S::raghav.rath@providence.org::71c1033f-1830-4801-9e6b-dc24ae31a985" providerId="AD" clId="Web-{A9CEB043-DCA1-4CB9-98BF-1C2D76655B9B}" dt="2023-07-25T04:58:23.556" v="15" actId="20577"/>
      <pc:docMkLst>
        <pc:docMk/>
      </pc:docMkLst>
      <pc:sldChg chg="ord">
        <pc:chgData name="Rath, Raghav" userId="S::raghav.rath@providence.org::71c1033f-1830-4801-9e6b-dc24ae31a985" providerId="AD" clId="Web-{A9CEB043-DCA1-4CB9-98BF-1C2D76655B9B}" dt="2023-07-25T04:55:23.564" v="0"/>
        <pc:sldMkLst>
          <pc:docMk/>
          <pc:sldMk cId="263492114" sldId="373"/>
        </pc:sldMkLst>
      </pc:sldChg>
      <pc:sldChg chg="modSp">
        <pc:chgData name="Rath, Raghav" userId="S::raghav.rath@providence.org::71c1033f-1830-4801-9e6b-dc24ae31a985" providerId="AD" clId="Web-{A9CEB043-DCA1-4CB9-98BF-1C2D76655B9B}" dt="2023-07-25T04:58:23.556" v="15" actId="20577"/>
        <pc:sldMkLst>
          <pc:docMk/>
          <pc:sldMk cId="3082899506" sldId="3626"/>
        </pc:sldMkLst>
        <pc:spChg chg="mod">
          <ac:chgData name="Rath, Raghav" userId="S::raghav.rath@providence.org::71c1033f-1830-4801-9e6b-dc24ae31a985" providerId="AD" clId="Web-{A9CEB043-DCA1-4CB9-98BF-1C2D76655B9B}" dt="2023-07-25T04:57:43.117" v="5" actId="20577"/>
          <ac:spMkLst>
            <pc:docMk/>
            <pc:sldMk cId="3082899506" sldId="3626"/>
            <ac:spMk id="34" creationId="{D519E393-5E7D-2F07-8BFF-5F6EAFE2E516}"/>
          </ac:spMkLst>
        </pc:spChg>
        <pc:spChg chg="mod">
          <ac:chgData name="Rath, Raghav" userId="S::raghav.rath@providence.org::71c1033f-1830-4801-9e6b-dc24ae31a985" providerId="AD" clId="Web-{A9CEB043-DCA1-4CB9-98BF-1C2D76655B9B}" dt="2023-07-25T04:58:23.556" v="15" actId="20577"/>
          <ac:spMkLst>
            <pc:docMk/>
            <pc:sldMk cId="3082899506" sldId="3626"/>
            <ac:spMk id="71" creationId="{068BAFFA-5F9F-B354-E5E9-5738771D457A}"/>
          </ac:spMkLst>
        </pc:spChg>
      </pc:sldChg>
    </pc:docChg>
  </pc:docChgLst>
  <pc:docChgLst>
    <pc:chgData name="Rath, Raghav" userId="S::raghav.rath@providence.org::71c1033f-1830-4801-9e6b-dc24ae31a985" providerId="AD" clId="Web-{9E5540D6-D350-4110-A5E8-083648654677}"/>
    <pc:docChg chg="addSld delSld modSld modSection">
      <pc:chgData name="Rath, Raghav" userId="S::raghav.rath@providence.org::71c1033f-1830-4801-9e6b-dc24ae31a985" providerId="AD" clId="Web-{9E5540D6-D350-4110-A5E8-083648654677}" dt="2023-07-25T06:03:46.485" v="197" actId="20577"/>
      <pc:docMkLst>
        <pc:docMk/>
      </pc:docMkLst>
      <pc:sldChg chg="modSp">
        <pc:chgData name="Rath, Raghav" userId="S::raghav.rath@providence.org::71c1033f-1830-4801-9e6b-dc24ae31a985" providerId="AD" clId="Web-{9E5540D6-D350-4110-A5E8-083648654677}" dt="2023-07-25T05:35:08.012" v="38" actId="20577"/>
        <pc:sldMkLst>
          <pc:docMk/>
          <pc:sldMk cId="3082899506" sldId="3626"/>
        </pc:sldMkLst>
        <pc:spChg chg="mod">
          <ac:chgData name="Rath, Raghav" userId="S::raghav.rath@providence.org::71c1033f-1830-4801-9e6b-dc24ae31a985" providerId="AD" clId="Web-{9E5540D6-D350-4110-A5E8-083648654677}" dt="2023-07-25T05:34:50.808" v="35" actId="1076"/>
          <ac:spMkLst>
            <pc:docMk/>
            <pc:sldMk cId="3082899506" sldId="3626"/>
            <ac:spMk id="33" creationId="{F580F67C-9208-E64D-3AE8-627EF19CC5F1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34:45.855" v="34" actId="1076"/>
          <ac:spMkLst>
            <pc:docMk/>
            <pc:sldMk cId="3082899506" sldId="3626"/>
            <ac:spMk id="34" creationId="{D519E393-5E7D-2F07-8BFF-5F6EAFE2E516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34:57.637" v="36" actId="1076"/>
          <ac:spMkLst>
            <pc:docMk/>
            <pc:sldMk cId="3082899506" sldId="3626"/>
            <ac:spMk id="35" creationId="{74AF5699-CCF0-652A-7C2F-AFEEA8770FCA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33:37.712" v="16" actId="20577"/>
          <ac:spMkLst>
            <pc:docMk/>
            <pc:sldMk cId="3082899506" sldId="3626"/>
            <ac:spMk id="36" creationId="{F64A350E-53FC-9590-E367-F702620203B1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35:08.012" v="38" actId="20577"/>
          <ac:spMkLst>
            <pc:docMk/>
            <pc:sldMk cId="3082899506" sldId="3626"/>
            <ac:spMk id="38" creationId="{DDFA83C6-3292-3743-313B-03BF4EC71950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34:21.745" v="28" actId="20577"/>
          <ac:spMkLst>
            <pc:docMk/>
            <pc:sldMk cId="3082899506" sldId="3626"/>
            <ac:spMk id="71" creationId="{068BAFFA-5F9F-B354-E5E9-5738771D457A}"/>
          </ac:spMkLst>
        </pc:spChg>
      </pc:sldChg>
      <pc:sldChg chg="del">
        <pc:chgData name="Rath, Raghav" userId="S::raghav.rath@providence.org::71c1033f-1830-4801-9e6b-dc24ae31a985" providerId="AD" clId="Web-{9E5540D6-D350-4110-A5E8-083648654677}" dt="2023-07-25T05:23:52.658" v="1"/>
        <pc:sldMkLst>
          <pc:docMk/>
          <pc:sldMk cId="973177099" sldId="3681"/>
        </pc:sldMkLst>
      </pc:sldChg>
      <pc:sldChg chg="modSp">
        <pc:chgData name="Rath, Raghav" userId="S::raghav.rath@providence.org::71c1033f-1830-4801-9e6b-dc24ae31a985" providerId="AD" clId="Web-{9E5540D6-D350-4110-A5E8-083648654677}" dt="2023-07-25T05:58:04.628" v="124" actId="1076"/>
        <pc:sldMkLst>
          <pc:docMk/>
          <pc:sldMk cId="515151804" sldId="3684"/>
        </pc:sldMkLst>
        <pc:spChg chg="mod">
          <ac:chgData name="Rath, Raghav" userId="S::raghav.rath@providence.org::71c1033f-1830-4801-9e6b-dc24ae31a985" providerId="AD" clId="Web-{9E5540D6-D350-4110-A5E8-083648654677}" dt="2023-07-25T05:57:56.331" v="123" actId="1076"/>
          <ac:spMkLst>
            <pc:docMk/>
            <pc:sldMk cId="515151804" sldId="3684"/>
            <ac:spMk id="9" creationId="{796EDA30-93F1-275A-9B19-F19C07288BBF}"/>
          </ac:spMkLst>
        </pc:spChg>
        <pc:spChg chg="mod">
          <ac:chgData name="Rath, Raghav" userId="S::raghav.rath@providence.org::71c1033f-1830-4801-9e6b-dc24ae31a985" providerId="AD" clId="Web-{9E5540D6-D350-4110-A5E8-083648654677}" dt="2023-07-25T05:58:04.628" v="124" actId="1076"/>
          <ac:spMkLst>
            <pc:docMk/>
            <pc:sldMk cId="515151804" sldId="3684"/>
            <ac:spMk id="11" creationId="{6508DD98-0603-00B8-53A8-6948CD1250DB}"/>
          </ac:spMkLst>
        </pc:spChg>
        <pc:graphicFrameChg chg="mod modGraphic">
          <ac:chgData name="Rath, Raghav" userId="S::raghav.rath@providence.org::71c1033f-1830-4801-9e6b-dc24ae31a985" providerId="AD" clId="Web-{9E5540D6-D350-4110-A5E8-083648654677}" dt="2023-07-25T05:57:51.675" v="122" actId="1076"/>
          <ac:graphicFrameMkLst>
            <pc:docMk/>
            <pc:sldMk cId="515151804" sldId="3684"/>
            <ac:graphicFrameMk id="8" creationId="{7D9AA59B-5A16-6128-246A-26A2BB98E43F}"/>
          </ac:graphicFrameMkLst>
        </pc:graphicFrameChg>
      </pc:sldChg>
      <pc:sldChg chg="modSp">
        <pc:chgData name="Rath, Raghav" userId="S::raghav.rath@providence.org::71c1033f-1830-4801-9e6b-dc24ae31a985" providerId="AD" clId="Web-{9E5540D6-D350-4110-A5E8-083648654677}" dt="2023-07-25T06:03:46.485" v="197" actId="20577"/>
        <pc:sldMkLst>
          <pc:docMk/>
          <pc:sldMk cId="2365724163" sldId="3685"/>
        </pc:sldMkLst>
        <pc:graphicFrameChg chg="mod modGraphic">
          <ac:chgData name="Rath, Raghav" userId="S::raghav.rath@providence.org::71c1033f-1830-4801-9e6b-dc24ae31a985" providerId="AD" clId="Web-{9E5540D6-D350-4110-A5E8-083648654677}" dt="2023-07-25T06:03:46.485" v="197" actId="20577"/>
          <ac:graphicFrameMkLst>
            <pc:docMk/>
            <pc:sldMk cId="2365724163" sldId="3685"/>
            <ac:graphicFrameMk id="3" creationId="{F2AC375C-0224-506B-95B0-B87548D7E617}"/>
          </ac:graphicFrameMkLst>
        </pc:graphicFrameChg>
        <pc:graphicFrameChg chg="mod">
          <ac:chgData name="Rath, Raghav" userId="S::raghav.rath@providence.org::71c1033f-1830-4801-9e6b-dc24ae31a985" providerId="AD" clId="Web-{9E5540D6-D350-4110-A5E8-083648654677}" dt="2023-07-25T05:37:49.409" v="40" actId="1076"/>
          <ac:graphicFrameMkLst>
            <pc:docMk/>
            <pc:sldMk cId="2365724163" sldId="3685"/>
            <ac:graphicFrameMk id="9" creationId="{DFDE0912-B75C-FA8E-3BC4-0A9B32B091D6}"/>
          </ac:graphicFrameMkLst>
        </pc:graphicFrameChg>
      </pc:sldChg>
      <pc:sldChg chg="add">
        <pc:chgData name="Rath, Raghav" userId="S::raghav.rath@providence.org::71c1033f-1830-4801-9e6b-dc24ae31a985" providerId="AD" clId="Web-{9E5540D6-D350-4110-A5E8-083648654677}" dt="2023-07-25T05:23:47.220" v="0"/>
        <pc:sldMkLst>
          <pc:docMk/>
          <pc:sldMk cId="3225873929" sldId="3689"/>
        </pc:sldMkLst>
      </pc:sldChg>
    </pc:docChg>
  </pc:docChgLst>
  <pc:docChgLst>
    <pc:chgData name="Mehta, Vishesh" userId="8163c1b2-ac67-48e1-8e9d-442917a9f10d" providerId="ADAL" clId="{8C8C3E12-D975-46D9-9308-8346082F6090}"/>
    <pc:docChg chg="undo redo custSel modSld">
      <pc:chgData name="Mehta, Vishesh" userId="8163c1b2-ac67-48e1-8e9d-442917a9f10d" providerId="ADAL" clId="{8C8C3E12-D975-46D9-9308-8346082F6090}" dt="2023-07-24T20:07:04.608" v="1340" actId="20577"/>
      <pc:docMkLst>
        <pc:docMk/>
      </pc:docMkLst>
      <pc:sldChg chg="modSp mod">
        <pc:chgData name="Mehta, Vishesh" userId="8163c1b2-ac67-48e1-8e9d-442917a9f10d" providerId="ADAL" clId="{8C8C3E12-D975-46D9-9308-8346082F6090}" dt="2023-07-24T19:50:04.430" v="874" actId="20577"/>
        <pc:sldMkLst>
          <pc:docMk/>
          <pc:sldMk cId="1764615936" sldId="3590"/>
        </pc:sldMkLst>
        <pc:spChg chg="mod">
          <ac:chgData name="Mehta, Vishesh" userId="8163c1b2-ac67-48e1-8e9d-442917a9f10d" providerId="ADAL" clId="{8C8C3E12-D975-46D9-9308-8346082F6090}" dt="2023-07-24T19:50:04.430" v="874" actId="20577"/>
          <ac:spMkLst>
            <pc:docMk/>
            <pc:sldMk cId="1764615936" sldId="3590"/>
            <ac:spMk id="8" creationId="{7464859C-F73F-9A4C-9108-CE54C87BDE5D}"/>
          </ac:spMkLst>
        </pc:spChg>
      </pc:sldChg>
      <pc:sldChg chg="addSp delSp modSp mod">
        <pc:chgData name="Mehta, Vishesh" userId="8163c1b2-ac67-48e1-8e9d-442917a9f10d" providerId="ADAL" clId="{8C8C3E12-D975-46D9-9308-8346082F6090}" dt="2023-07-24T19:49:24.650" v="848" actId="113"/>
        <pc:sldMkLst>
          <pc:docMk/>
          <pc:sldMk cId="4206793325" sldId="3591"/>
        </pc:sldMkLst>
        <pc:spChg chg="del mod">
          <ac:chgData name="Mehta, Vishesh" userId="8163c1b2-ac67-48e1-8e9d-442917a9f10d" providerId="ADAL" clId="{8C8C3E12-D975-46D9-9308-8346082F6090}" dt="2023-07-24T19:36:56.386" v="665" actId="478"/>
          <ac:spMkLst>
            <pc:docMk/>
            <pc:sldMk cId="4206793325" sldId="3591"/>
            <ac:spMk id="3" creationId="{CADD88DD-B222-6440-C430-674E308AC616}"/>
          </ac:spMkLst>
        </pc:spChg>
        <pc:spChg chg="add del mod">
          <ac:chgData name="Mehta, Vishesh" userId="8163c1b2-ac67-48e1-8e9d-442917a9f10d" providerId="ADAL" clId="{8C8C3E12-D975-46D9-9308-8346082F6090}" dt="2023-07-24T19:49:24.650" v="848" actId="113"/>
          <ac:spMkLst>
            <pc:docMk/>
            <pc:sldMk cId="4206793325" sldId="3591"/>
            <ac:spMk id="5" creationId="{96C6F917-AD77-C6BB-7591-8FA0F5035FF5}"/>
          </ac:spMkLst>
        </pc:spChg>
        <pc:spChg chg="del">
          <ac:chgData name="Mehta, Vishesh" userId="8163c1b2-ac67-48e1-8e9d-442917a9f10d" providerId="ADAL" clId="{8C8C3E12-D975-46D9-9308-8346082F6090}" dt="2023-07-24T19:27:48.955" v="361" actId="478"/>
          <ac:spMkLst>
            <pc:docMk/>
            <pc:sldMk cId="4206793325" sldId="3591"/>
            <ac:spMk id="6" creationId="{A3358A0F-735B-0B3E-356C-9E26B5CC420F}"/>
          </ac:spMkLst>
        </pc:spChg>
        <pc:spChg chg="add del">
          <ac:chgData name="Mehta, Vishesh" userId="8163c1b2-ac67-48e1-8e9d-442917a9f10d" providerId="ADAL" clId="{8C8C3E12-D975-46D9-9308-8346082F6090}" dt="2023-07-24T19:45:22.222" v="750"/>
          <ac:spMkLst>
            <pc:docMk/>
            <pc:sldMk cId="4206793325" sldId="3591"/>
            <ac:spMk id="8" creationId="{F962202E-D9E2-DCCD-79D4-85B954DF4602}"/>
          </ac:spMkLst>
        </pc:spChg>
        <pc:spChg chg="add del mod">
          <ac:chgData name="Mehta, Vishesh" userId="8163c1b2-ac67-48e1-8e9d-442917a9f10d" providerId="ADAL" clId="{8C8C3E12-D975-46D9-9308-8346082F6090}" dt="2023-07-24T19:45:20.735" v="749"/>
          <ac:spMkLst>
            <pc:docMk/>
            <pc:sldMk cId="4206793325" sldId="3591"/>
            <ac:spMk id="11" creationId="{B436E6DB-BA17-5556-15B6-284797039D2D}"/>
          </ac:spMkLst>
        </pc:spChg>
      </pc:sldChg>
      <pc:sldChg chg="modSp mod">
        <pc:chgData name="Mehta, Vishesh" userId="8163c1b2-ac67-48e1-8e9d-442917a9f10d" providerId="ADAL" clId="{8C8C3E12-D975-46D9-9308-8346082F6090}" dt="2023-07-24T20:02:52.534" v="1062" actId="14100"/>
        <pc:sldMkLst>
          <pc:docMk/>
          <pc:sldMk cId="176983750" sldId="3592"/>
        </pc:sldMkLst>
        <pc:spChg chg="mod">
          <ac:chgData name="Mehta, Vishesh" userId="8163c1b2-ac67-48e1-8e9d-442917a9f10d" providerId="ADAL" clId="{8C8C3E12-D975-46D9-9308-8346082F6090}" dt="2023-07-24T20:02:52.534" v="1062" actId="14100"/>
          <ac:spMkLst>
            <pc:docMk/>
            <pc:sldMk cId="176983750" sldId="3592"/>
            <ac:spMk id="8" creationId="{7464859C-F73F-9A4C-9108-CE54C87BDE5D}"/>
          </ac:spMkLst>
        </pc:spChg>
      </pc:sldChg>
      <pc:sldChg chg="modSp mod">
        <pc:chgData name="Mehta, Vishesh" userId="8163c1b2-ac67-48e1-8e9d-442917a9f10d" providerId="ADAL" clId="{8C8C3E12-D975-46D9-9308-8346082F6090}" dt="2023-07-24T20:00:47.934" v="1044" actId="113"/>
        <pc:sldMkLst>
          <pc:docMk/>
          <pc:sldMk cId="1668365039" sldId="3600"/>
        </pc:sldMkLst>
        <pc:spChg chg="mod">
          <ac:chgData name="Mehta, Vishesh" userId="8163c1b2-ac67-48e1-8e9d-442917a9f10d" providerId="ADAL" clId="{8C8C3E12-D975-46D9-9308-8346082F6090}" dt="2023-07-24T20:00:47.934" v="1044" actId="113"/>
          <ac:spMkLst>
            <pc:docMk/>
            <pc:sldMk cId="1668365039" sldId="3600"/>
            <ac:spMk id="8" creationId="{7464859C-F73F-9A4C-9108-CE54C87BDE5D}"/>
          </ac:spMkLst>
        </pc:spChg>
      </pc:sldChg>
      <pc:sldChg chg="modSp mod">
        <pc:chgData name="Mehta, Vishesh" userId="8163c1b2-ac67-48e1-8e9d-442917a9f10d" providerId="ADAL" clId="{8C8C3E12-D975-46D9-9308-8346082F6090}" dt="2023-07-24T19:57:08.513" v="969" actId="20577"/>
        <pc:sldMkLst>
          <pc:docMk/>
          <pc:sldMk cId="374220009" sldId="3607"/>
        </pc:sldMkLst>
        <pc:spChg chg="mod">
          <ac:chgData name="Mehta, Vishesh" userId="8163c1b2-ac67-48e1-8e9d-442917a9f10d" providerId="ADAL" clId="{8C8C3E12-D975-46D9-9308-8346082F6090}" dt="2023-07-24T19:56:23.497" v="954" actId="1076"/>
          <ac:spMkLst>
            <pc:docMk/>
            <pc:sldMk cId="374220009" sldId="3607"/>
            <ac:spMk id="7" creationId="{B954E858-C7E7-3D45-9BFA-1781D04D9B6F}"/>
          </ac:spMkLst>
        </pc:spChg>
        <pc:spChg chg="mod">
          <ac:chgData name="Mehta, Vishesh" userId="8163c1b2-ac67-48e1-8e9d-442917a9f10d" providerId="ADAL" clId="{8C8C3E12-D975-46D9-9308-8346082F6090}" dt="2023-07-24T19:57:08.513" v="969" actId="20577"/>
          <ac:spMkLst>
            <pc:docMk/>
            <pc:sldMk cId="374220009" sldId="3607"/>
            <ac:spMk id="8" creationId="{7464859C-F73F-9A4C-9108-CE54C87BDE5D}"/>
          </ac:spMkLst>
        </pc:spChg>
      </pc:sldChg>
      <pc:sldChg chg="modSp mod">
        <pc:chgData name="Mehta, Vishesh" userId="8163c1b2-ac67-48e1-8e9d-442917a9f10d" providerId="ADAL" clId="{8C8C3E12-D975-46D9-9308-8346082F6090}" dt="2023-07-24T19:18:42.768" v="307" actId="20577"/>
        <pc:sldMkLst>
          <pc:docMk/>
          <pc:sldMk cId="681187675" sldId="3613"/>
        </pc:sldMkLst>
        <pc:spChg chg="mod">
          <ac:chgData name="Mehta, Vishesh" userId="8163c1b2-ac67-48e1-8e9d-442917a9f10d" providerId="ADAL" clId="{8C8C3E12-D975-46D9-9308-8346082F6090}" dt="2023-07-24T19:17:44.122" v="292" actId="20577"/>
          <ac:spMkLst>
            <pc:docMk/>
            <pc:sldMk cId="681187675" sldId="3613"/>
            <ac:spMk id="7" creationId="{67639C49-F2BD-BBED-40E8-EC0AF073170A}"/>
          </ac:spMkLst>
        </pc:spChg>
        <pc:spChg chg="mod">
          <ac:chgData name="Mehta, Vishesh" userId="8163c1b2-ac67-48e1-8e9d-442917a9f10d" providerId="ADAL" clId="{8C8C3E12-D975-46D9-9308-8346082F6090}" dt="2023-07-24T19:18:42.768" v="307" actId="20577"/>
          <ac:spMkLst>
            <pc:docMk/>
            <pc:sldMk cId="681187675" sldId="3613"/>
            <ac:spMk id="92" creationId="{8690716A-78FC-8CA7-A5CD-BB845BE54FBD}"/>
          </ac:spMkLst>
        </pc:spChg>
        <pc:spChg chg="mod">
          <ac:chgData name="Mehta, Vishesh" userId="8163c1b2-ac67-48e1-8e9d-442917a9f10d" providerId="ADAL" clId="{8C8C3E12-D975-46D9-9308-8346082F6090}" dt="2023-07-24T19:15:45.379" v="270" actId="20577"/>
          <ac:spMkLst>
            <pc:docMk/>
            <pc:sldMk cId="681187675" sldId="3613"/>
            <ac:spMk id="93" creationId="{B220A9A8-E39B-8C41-C6BB-242DAA16863D}"/>
          </ac:spMkLst>
        </pc:spChg>
        <pc:graphicFrameChg chg="modGraphic">
          <ac:chgData name="Mehta, Vishesh" userId="8163c1b2-ac67-48e1-8e9d-442917a9f10d" providerId="ADAL" clId="{8C8C3E12-D975-46D9-9308-8346082F6090}" dt="2023-07-24T19:14:39.718" v="239" actId="113"/>
          <ac:graphicFrameMkLst>
            <pc:docMk/>
            <pc:sldMk cId="681187675" sldId="3613"/>
            <ac:graphicFrameMk id="107" creationId="{8AF31F89-A8B3-9ADF-1B85-84C128433178}"/>
          </ac:graphicFrameMkLst>
        </pc:graphicFrameChg>
      </pc:sldChg>
      <pc:sldChg chg="delSp modSp mod">
        <pc:chgData name="Mehta, Vishesh" userId="8163c1b2-ac67-48e1-8e9d-442917a9f10d" providerId="ADAL" clId="{8C8C3E12-D975-46D9-9308-8346082F6090}" dt="2023-07-24T19:24:51.308" v="359" actId="113"/>
        <pc:sldMkLst>
          <pc:docMk/>
          <pc:sldMk cId="565577296" sldId="3623"/>
        </pc:sldMkLst>
        <pc:spChg chg="mod">
          <ac:chgData name="Mehta, Vishesh" userId="8163c1b2-ac67-48e1-8e9d-442917a9f10d" providerId="ADAL" clId="{8C8C3E12-D975-46D9-9308-8346082F6090}" dt="2023-07-24T19:23:27.352" v="349" actId="20577"/>
          <ac:spMkLst>
            <pc:docMk/>
            <pc:sldMk cId="565577296" sldId="3623"/>
            <ac:spMk id="7" creationId="{D2E4AF7E-AAED-8978-EC0D-7F66F89D3154}"/>
          </ac:spMkLst>
        </pc:spChg>
        <pc:spChg chg="mod">
          <ac:chgData name="Mehta, Vishesh" userId="8163c1b2-ac67-48e1-8e9d-442917a9f10d" providerId="ADAL" clId="{8C8C3E12-D975-46D9-9308-8346082F6090}" dt="2023-07-24T19:23:52.854" v="354" actId="20577"/>
          <ac:spMkLst>
            <pc:docMk/>
            <pc:sldMk cId="565577296" sldId="3623"/>
            <ac:spMk id="16" creationId="{1F50CA57-62EA-6F61-97CD-D7BE0D21B374}"/>
          </ac:spMkLst>
        </pc:spChg>
        <pc:spChg chg="mod">
          <ac:chgData name="Mehta, Vishesh" userId="8163c1b2-ac67-48e1-8e9d-442917a9f10d" providerId="ADAL" clId="{8C8C3E12-D975-46D9-9308-8346082F6090}" dt="2023-07-24T19:24:51.308" v="359" actId="113"/>
          <ac:spMkLst>
            <pc:docMk/>
            <pc:sldMk cId="565577296" sldId="3623"/>
            <ac:spMk id="1085" creationId="{5F2F0D4A-7DEE-4EA9-822C-7A91555E6497}"/>
          </ac:spMkLst>
        </pc:spChg>
        <pc:graphicFrameChg chg="mod">
          <ac:chgData name="Mehta, Vishesh" userId="8163c1b2-ac67-48e1-8e9d-442917a9f10d" providerId="ADAL" clId="{8C8C3E12-D975-46D9-9308-8346082F6090}" dt="2023-07-24T19:20:33.462" v="330" actId="1036"/>
          <ac:graphicFrameMkLst>
            <pc:docMk/>
            <pc:sldMk cId="565577296" sldId="3623"/>
            <ac:graphicFrameMk id="4" creationId="{28F947A7-E90F-1307-DBCA-35298513AD2A}"/>
          </ac:graphicFrameMkLst>
        </pc:graphicFrameChg>
        <pc:graphicFrameChg chg="del mod">
          <ac:chgData name="Mehta, Vishesh" userId="8163c1b2-ac67-48e1-8e9d-442917a9f10d" providerId="ADAL" clId="{8C8C3E12-D975-46D9-9308-8346082F6090}" dt="2023-07-24T19:20:36.322" v="331" actId="478"/>
          <ac:graphicFrameMkLst>
            <pc:docMk/>
            <pc:sldMk cId="565577296" sldId="3623"/>
            <ac:graphicFrameMk id="11" creationId="{8BCF56B4-50FB-501C-05BB-73B02924258F}"/>
          </ac:graphicFrameMkLst>
        </pc:graphicFrameChg>
        <pc:graphicFrameChg chg="mod">
          <ac:chgData name="Mehta, Vishesh" userId="8163c1b2-ac67-48e1-8e9d-442917a9f10d" providerId="ADAL" clId="{8C8C3E12-D975-46D9-9308-8346082F6090}" dt="2023-07-24T19:20:41.699" v="336" actId="1036"/>
          <ac:graphicFrameMkLst>
            <pc:docMk/>
            <pc:sldMk cId="565577296" sldId="3623"/>
            <ac:graphicFrameMk id="14" creationId="{784E2B94-0ADA-4D5C-431D-86319FC4B7FC}"/>
          </ac:graphicFrameMkLst>
        </pc:graphicFrameChg>
      </pc:sldChg>
      <pc:sldChg chg="modSp mod">
        <pc:chgData name="Mehta, Vishesh" userId="8163c1b2-ac67-48e1-8e9d-442917a9f10d" providerId="ADAL" clId="{8C8C3E12-D975-46D9-9308-8346082F6090}" dt="2023-07-24T19:59:17.600" v="1015" actId="20577"/>
        <pc:sldMkLst>
          <pc:docMk/>
          <pc:sldMk cId="3096146122" sldId="3624"/>
        </pc:sldMkLst>
        <pc:spChg chg="mod">
          <ac:chgData name="Mehta, Vishesh" userId="8163c1b2-ac67-48e1-8e9d-442917a9f10d" providerId="ADAL" clId="{8C8C3E12-D975-46D9-9308-8346082F6090}" dt="2023-07-24T19:59:17.600" v="1015" actId="20577"/>
          <ac:spMkLst>
            <pc:docMk/>
            <pc:sldMk cId="3096146122" sldId="3624"/>
            <ac:spMk id="8" creationId="{7464859C-F73F-9A4C-9108-CE54C87BDE5D}"/>
          </ac:spMkLst>
        </pc:spChg>
      </pc:sldChg>
      <pc:sldChg chg="addSp delSp modSp mod">
        <pc:chgData name="Mehta, Vishesh" userId="8163c1b2-ac67-48e1-8e9d-442917a9f10d" providerId="ADAL" clId="{8C8C3E12-D975-46D9-9308-8346082F6090}" dt="2023-07-24T19:11:47.121" v="233" actId="20577"/>
        <pc:sldMkLst>
          <pc:docMk/>
          <pc:sldMk cId="3082899506" sldId="3626"/>
        </pc:sldMkLst>
        <pc:spChg chg="mod">
          <ac:chgData name="Mehta, Vishesh" userId="8163c1b2-ac67-48e1-8e9d-442917a9f10d" providerId="ADAL" clId="{8C8C3E12-D975-46D9-9308-8346082F6090}" dt="2023-07-24T19:11:47.121" v="233" actId="20577"/>
          <ac:spMkLst>
            <pc:docMk/>
            <pc:sldMk cId="3082899506" sldId="3626"/>
            <ac:spMk id="5" creationId="{DFD95816-8702-54C7-4B7B-E00F71282D9B}"/>
          </ac:spMkLst>
        </pc:spChg>
        <pc:grpChg chg="mod">
          <ac:chgData name="Mehta, Vishesh" userId="8163c1b2-ac67-48e1-8e9d-442917a9f10d" providerId="ADAL" clId="{8C8C3E12-D975-46D9-9308-8346082F6090}" dt="2023-07-24T19:10:33.079" v="213" actId="1076"/>
          <ac:grpSpMkLst>
            <pc:docMk/>
            <pc:sldMk cId="3082899506" sldId="3626"/>
            <ac:grpSpMk id="8" creationId="{9E36FE9D-B92C-1F45-E15C-EA1F1DABA701}"/>
          </ac:grpSpMkLst>
        </pc:grpChg>
        <pc:picChg chg="add del">
          <ac:chgData name="Mehta, Vishesh" userId="8163c1b2-ac67-48e1-8e9d-442917a9f10d" providerId="ADAL" clId="{8C8C3E12-D975-46D9-9308-8346082F6090}" dt="2023-07-24T19:10:46.042" v="223" actId="22"/>
          <ac:picMkLst>
            <pc:docMk/>
            <pc:sldMk cId="3082899506" sldId="3626"/>
            <ac:picMk id="6" creationId="{2724A608-C7C7-AE3B-367E-A71571048AA2}"/>
          </ac:picMkLst>
        </pc:picChg>
      </pc:sldChg>
      <pc:sldChg chg="modSp mod modAnim">
        <pc:chgData name="Mehta, Vishesh" userId="8163c1b2-ac67-48e1-8e9d-442917a9f10d" providerId="ADAL" clId="{8C8C3E12-D975-46D9-9308-8346082F6090}" dt="2023-07-24T19:55:29.587" v="917" actId="20577"/>
        <pc:sldMkLst>
          <pc:docMk/>
          <pc:sldMk cId="2165706493" sldId="3627"/>
        </pc:sldMkLst>
        <pc:spChg chg="mod">
          <ac:chgData name="Mehta, Vishesh" userId="8163c1b2-ac67-48e1-8e9d-442917a9f10d" providerId="ADAL" clId="{8C8C3E12-D975-46D9-9308-8346082F6090}" dt="2023-07-24T19:53:26.771" v="910" actId="14100"/>
          <ac:spMkLst>
            <pc:docMk/>
            <pc:sldMk cId="2165706493" sldId="3627"/>
            <ac:spMk id="7" creationId="{B954E858-C7E7-3D45-9BFA-1781D04D9B6F}"/>
          </ac:spMkLst>
        </pc:spChg>
        <pc:spChg chg="mod">
          <ac:chgData name="Mehta, Vishesh" userId="8163c1b2-ac67-48e1-8e9d-442917a9f10d" providerId="ADAL" clId="{8C8C3E12-D975-46D9-9308-8346082F6090}" dt="2023-07-24T19:55:29.587" v="917" actId="20577"/>
          <ac:spMkLst>
            <pc:docMk/>
            <pc:sldMk cId="2165706493" sldId="3627"/>
            <ac:spMk id="8" creationId="{7464859C-F73F-9A4C-9108-CE54C87BDE5D}"/>
          </ac:spMkLst>
        </pc:spChg>
      </pc:sldChg>
      <pc:sldChg chg="modSp">
        <pc:chgData name="Mehta, Vishesh" userId="8163c1b2-ac67-48e1-8e9d-442917a9f10d" providerId="ADAL" clId="{8C8C3E12-D975-46D9-9308-8346082F6090}" dt="2023-07-24T20:05:44.584" v="1187" actId="1037"/>
        <pc:sldMkLst>
          <pc:docMk/>
          <pc:sldMk cId="1041550661" sldId="3630"/>
        </pc:sldMkLst>
        <pc:picChg chg="mod">
          <ac:chgData name="Mehta, Vishesh" userId="8163c1b2-ac67-48e1-8e9d-442917a9f10d" providerId="ADAL" clId="{8C8C3E12-D975-46D9-9308-8346082F6090}" dt="2023-07-24T20:05:44.584" v="1187" actId="1037"/>
          <ac:picMkLst>
            <pc:docMk/>
            <pc:sldMk cId="1041550661" sldId="3630"/>
            <ac:picMk id="2" creationId="{786A36DD-DF06-98F7-BCB8-3274960E6B72}"/>
          </ac:picMkLst>
        </pc:picChg>
      </pc:sldChg>
      <pc:sldChg chg="modSp mod">
        <pc:chgData name="Mehta, Vishesh" userId="8163c1b2-ac67-48e1-8e9d-442917a9f10d" providerId="ADAL" clId="{8C8C3E12-D975-46D9-9308-8346082F6090}" dt="2023-07-24T19:10:49.106" v="225" actId="20577"/>
        <pc:sldMkLst>
          <pc:docMk/>
          <pc:sldMk cId="3288433710" sldId="3668"/>
        </pc:sldMkLst>
        <pc:spChg chg="mod">
          <ac:chgData name="Mehta, Vishesh" userId="8163c1b2-ac67-48e1-8e9d-442917a9f10d" providerId="ADAL" clId="{8C8C3E12-D975-46D9-9308-8346082F6090}" dt="2023-07-24T19:10:49.106" v="225" actId="20577"/>
          <ac:spMkLst>
            <pc:docMk/>
            <pc:sldMk cId="3288433710" sldId="3668"/>
            <ac:spMk id="2" creationId="{9A7983BD-92D8-A770-7824-C5E1F25185A1}"/>
          </ac:spMkLst>
        </pc:spChg>
      </pc:sldChg>
      <pc:sldChg chg="modSp mod">
        <pc:chgData name="Mehta, Vishesh" userId="8163c1b2-ac67-48e1-8e9d-442917a9f10d" providerId="ADAL" clId="{8C8C3E12-D975-46D9-9308-8346082F6090}" dt="2023-07-24T20:07:04.608" v="1340" actId="20577"/>
        <pc:sldMkLst>
          <pc:docMk/>
          <pc:sldMk cId="973177099" sldId="3681"/>
        </pc:sldMkLst>
        <pc:spChg chg="mod">
          <ac:chgData name="Mehta, Vishesh" userId="8163c1b2-ac67-48e1-8e9d-442917a9f10d" providerId="ADAL" clId="{8C8C3E12-D975-46D9-9308-8346082F6090}" dt="2023-07-24T20:07:04.608" v="1340" actId="20577"/>
          <ac:spMkLst>
            <pc:docMk/>
            <pc:sldMk cId="973177099" sldId="3681"/>
            <ac:spMk id="24" creationId="{6F2C7CF3-7AA3-2DBA-ACBE-22ACC5A12363}"/>
          </ac:spMkLst>
        </pc:spChg>
        <pc:picChg chg="mod">
          <ac:chgData name="Mehta, Vishesh" userId="8163c1b2-ac67-48e1-8e9d-442917a9f10d" providerId="ADAL" clId="{8C8C3E12-D975-46D9-9308-8346082F6090}" dt="2023-07-24T20:06:32.554" v="1319" actId="1038"/>
          <ac:picMkLst>
            <pc:docMk/>
            <pc:sldMk cId="973177099" sldId="3681"/>
            <ac:picMk id="1028" creationId="{CE55DCB9-4FB3-1DD7-80E9-E4AE55EEB1FD}"/>
          </ac:picMkLst>
        </pc:picChg>
        <pc:picChg chg="mod">
          <ac:chgData name="Mehta, Vishesh" userId="8163c1b2-ac67-48e1-8e9d-442917a9f10d" providerId="ADAL" clId="{8C8C3E12-D975-46D9-9308-8346082F6090}" dt="2023-07-24T20:06:18.031" v="1238" actId="1035"/>
          <ac:picMkLst>
            <pc:docMk/>
            <pc:sldMk cId="973177099" sldId="3681"/>
            <ac:picMk id="1030" creationId="{60B18B1D-1B6E-06C9-8D38-5D386CB140CA}"/>
          </ac:picMkLst>
        </pc:picChg>
      </pc:sldChg>
      <pc:sldChg chg="modSp mod">
        <pc:chgData name="Mehta, Vishesh" userId="8163c1b2-ac67-48e1-8e9d-442917a9f10d" providerId="ADAL" clId="{8C8C3E12-D975-46D9-9308-8346082F6090}" dt="2023-07-24T20:05:32.707" v="1157" actId="1037"/>
        <pc:sldMkLst>
          <pc:docMk/>
          <pc:sldMk cId="1116620279" sldId="3688"/>
        </pc:sldMkLst>
        <pc:picChg chg="mod">
          <ac:chgData name="Mehta, Vishesh" userId="8163c1b2-ac67-48e1-8e9d-442917a9f10d" providerId="ADAL" clId="{8C8C3E12-D975-46D9-9308-8346082F6090}" dt="2023-07-24T20:05:32.707" v="1157" actId="1037"/>
          <ac:picMkLst>
            <pc:docMk/>
            <pc:sldMk cId="1116620279" sldId="3688"/>
            <ac:picMk id="8" creationId="{8F9ADFD7-2325-CED6-BC3F-B839FEA5F304}"/>
          </ac:picMkLst>
        </pc:picChg>
        <pc:picChg chg="mod">
          <ac:chgData name="Mehta, Vishesh" userId="8163c1b2-ac67-48e1-8e9d-442917a9f10d" providerId="ADAL" clId="{8C8C3E12-D975-46D9-9308-8346082F6090}" dt="2023-07-24T20:05:16.181" v="1131" actId="1440"/>
          <ac:picMkLst>
            <pc:docMk/>
            <pc:sldMk cId="1116620279" sldId="3688"/>
            <ac:picMk id="12" creationId="{706FE15C-D11E-2384-A946-C4C7A01ABDBC}"/>
          </ac:picMkLst>
        </pc:picChg>
        <pc:picChg chg="mod">
          <ac:chgData name="Mehta, Vishesh" userId="8163c1b2-ac67-48e1-8e9d-442917a9f10d" providerId="ADAL" clId="{8C8C3E12-D975-46D9-9308-8346082F6090}" dt="2023-07-24T20:04:53.584" v="1130" actId="14861"/>
          <ac:picMkLst>
            <pc:docMk/>
            <pc:sldMk cId="1116620279" sldId="3688"/>
            <ac:picMk id="10242" creationId="{48C770E6-E9BD-F252-59E5-3CDF662C38C7}"/>
          </ac:picMkLst>
        </pc:picChg>
      </pc:sldChg>
    </pc:docChg>
  </pc:docChgLst>
  <pc:docChgLst>
    <pc:chgData name="Rath, Raghav" userId="S::raghav.rath@providence.org::71c1033f-1830-4801-9e6b-dc24ae31a985" providerId="AD" clId="Web-{A6AD62BC-2D1D-40FB-92EC-5937F7E4CE8A}"/>
    <pc:docChg chg="addSld delSld modSld modSection">
      <pc:chgData name="Rath, Raghav" userId="S::raghav.rath@providence.org::71c1033f-1830-4801-9e6b-dc24ae31a985" providerId="AD" clId="Web-{A6AD62BC-2D1D-40FB-92EC-5937F7E4CE8A}" dt="2023-07-25T13:59:29.163" v="4" actId="1076"/>
      <pc:docMkLst>
        <pc:docMk/>
      </pc:docMkLst>
      <pc:sldChg chg="del">
        <pc:chgData name="Rath, Raghav" userId="S::raghav.rath@providence.org::71c1033f-1830-4801-9e6b-dc24ae31a985" providerId="AD" clId="Web-{A6AD62BC-2D1D-40FB-92EC-5937F7E4CE8A}" dt="2023-07-25T13:59:08.802" v="1"/>
        <pc:sldMkLst>
          <pc:docMk/>
          <pc:sldMk cId="681187675" sldId="3613"/>
        </pc:sldMkLst>
      </pc:sldChg>
      <pc:sldChg chg="delSp modSp add">
        <pc:chgData name="Rath, Raghav" userId="S::raghav.rath@providence.org::71c1033f-1830-4801-9e6b-dc24ae31a985" providerId="AD" clId="Web-{A6AD62BC-2D1D-40FB-92EC-5937F7E4CE8A}" dt="2023-07-25T13:59:29.163" v="4" actId="1076"/>
        <pc:sldMkLst>
          <pc:docMk/>
          <pc:sldMk cId="3350841632" sldId="3697"/>
        </pc:sldMkLst>
        <pc:spChg chg="del mod">
          <ac:chgData name="Rath, Raghav" userId="S::raghav.rath@providence.org::71c1033f-1830-4801-9e6b-dc24ae31a985" providerId="AD" clId="Web-{A6AD62BC-2D1D-40FB-92EC-5937F7E4CE8A}" dt="2023-07-25T13:59:18.709" v="3"/>
          <ac:spMkLst>
            <pc:docMk/>
            <pc:sldMk cId="3350841632" sldId="3697"/>
            <ac:spMk id="3" creationId="{90438C88-DBD5-BC64-0F3A-47861D86C3D6}"/>
          </ac:spMkLst>
        </pc:spChg>
        <pc:spChg chg="mod">
          <ac:chgData name="Rath, Raghav" userId="S::raghav.rath@providence.org::71c1033f-1830-4801-9e6b-dc24ae31a985" providerId="AD" clId="Web-{A6AD62BC-2D1D-40FB-92EC-5937F7E4CE8A}" dt="2023-07-25T13:59:29.163" v="4" actId="1076"/>
          <ac:spMkLst>
            <pc:docMk/>
            <pc:sldMk cId="3350841632" sldId="3697"/>
            <ac:spMk id="6" creationId="{E44489B4-061C-C6CD-C876-4C2064829A09}"/>
          </ac:spMkLst>
        </pc:spChg>
      </pc:sldChg>
    </pc:docChg>
  </pc:docChgLst>
  <pc:docChgLst>
    <pc:chgData name="Rath, Raghav" userId="S::raghav.rath@providence.org::71c1033f-1830-4801-9e6b-dc24ae31a985" providerId="AD" clId="Web-{513A3E98-3AB3-460F-83C0-F4C68D692046}"/>
    <pc:docChg chg="modSld">
      <pc:chgData name="Rath, Raghav" userId="S::raghav.rath@providence.org::71c1033f-1830-4801-9e6b-dc24ae31a985" providerId="AD" clId="Web-{513A3E98-3AB3-460F-83C0-F4C68D692046}" dt="2023-07-25T10:44:39.709" v="3" actId="20577"/>
      <pc:docMkLst>
        <pc:docMk/>
      </pc:docMkLst>
      <pc:sldChg chg="modSp">
        <pc:chgData name="Rath, Raghav" userId="S::raghav.rath@providence.org::71c1033f-1830-4801-9e6b-dc24ae31a985" providerId="AD" clId="Web-{513A3E98-3AB3-460F-83C0-F4C68D692046}" dt="2023-07-25T10:44:39.709" v="3" actId="20577"/>
        <pc:sldMkLst>
          <pc:docMk/>
          <pc:sldMk cId="400507667" sldId="3682"/>
        </pc:sldMkLst>
        <pc:spChg chg="mod">
          <ac:chgData name="Rath, Raghav" userId="S::raghav.rath@providence.org::71c1033f-1830-4801-9e6b-dc24ae31a985" providerId="AD" clId="Web-{513A3E98-3AB3-460F-83C0-F4C68D692046}" dt="2023-07-25T10:44:39.709" v="3" actId="20577"/>
          <ac:spMkLst>
            <pc:docMk/>
            <pc:sldMk cId="400507667" sldId="3682"/>
            <ac:spMk id="13" creationId="{06DA6F9A-1C86-7A09-1942-E9B244625C64}"/>
          </ac:spMkLst>
        </pc:spChg>
      </pc:sldChg>
    </pc:docChg>
  </pc:docChgLst>
  <pc:docChgLst>
    <pc:chgData name="Kapalavayi, Ramya S" userId="da89255d-45c7-4da7-97eb-f3f90abcfd0b" providerId="ADAL" clId="{54F42806-C6C4-4BFD-8C9C-D21582D7D9BF}"/>
    <pc:docChg chg="undo custSel addSld delSld modSld sldOrd modSection">
      <pc:chgData name="Kapalavayi, Ramya S" userId="da89255d-45c7-4da7-97eb-f3f90abcfd0b" providerId="ADAL" clId="{54F42806-C6C4-4BFD-8C9C-D21582D7D9BF}" dt="2023-07-25T14:55:49.168" v="965" actId="404"/>
      <pc:docMkLst>
        <pc:docMk/>
      </pc:docMkLst>
      <pc:sldChg chg="addSp delSp modSp add">
        <pc:chgData name="Kapalavayi, Ramya S" userId="da89255d-45c7-4da7-97eb-f3f90abcfd0b" providerId="ADAL" clId="{54F42806-C6C4-4BFD-8C9C-D21582D7D9BF}" dt="2023-07-25T14:28:39.999" v="711"/>
        <pc:sldMkLst>
          <pc:docMk/>
          <pc:sldMk cId="3020971480" sldId="264"/>
        </pc:sldMkLst>
        <pc:graphicFrameChg chg="add del mod">
          <ac:chgData name="Kapalavayi, Ramya S" userId="da89255d-45c7-4da7-97eb-f3f90abcfd0b" providerId="ADAL" clId="{54F42806-C6C4-4BFD-8C9C-D21582D7D9BF}" dt="2023-07-25T14:28:39.999" v="711"/>
          <ac:graphicFrameMkLst>
            <pc:docMk/>
            <pc:sldMk cId="3020971480" sldId="264"/>
            <ac:graphicFrameMk id="5" creationId="{95E1603A-B4CF-3ACA-4C9F-3356FD7CAC41}"/>
          </ac:graphicFrameMkLst>
        </pc:graphicFrameChg>
      </pc:sldChg>
      <pc:sldChg chg="modSp add mod">
        <pc:chgData name="Kapalavayi, Ramya S" userId="da89255d-45c7-4da7-97eb-f3f90abcfd0b" providerId="ADAL" clId="{54F42806-C6C4-4BFD-8C9C-D21582D7D9BF}" dt="2023-07-25T14:40:40.042" v="860"/>
        <pc:sldMkLst>
          <pc:docMk/>
          <pc:sldMk cId="1590900993" sldId="366"/>
        </pc:sldMkLst>
        <pc:spChg chg="mod">
          <ac:chgData name="Kapalavayi, Ramya S" userId="da89255d-45c7-4da7-97eb-f3f90abcfd0b" providerId="ADAL" clId="{54F42806-C6C4-4BFD-8C9C-D21582D7D9BF}" dt="2023-07-25T14:37:59.471" v="831" actId="1076"/>
          <ac:spMkLst>
            <pc:docMk/>
            <pc:sldMk cId="1590900993" sldId="366"/>
            <ac:spMk id="2" creationId="{DF2D2976-DC3B-E281-031A-3D35C3BAB088}"/>
          </ac:spMkLst>
        </pc:spChg>
        <pc:graphicFrameChg chg="mod modGraphic">
          <ac:chgData name="Kapalavayi, Ramya S" userId="da89255d-45c7-4da7-97eb-f3f90abcfd0b" providerId="ADAL" clId="{54F42806-C6C4-4BFD-8C9C-D21582D7D9BF}" dt="2023-07-25T14:40:40.042" v="860"/>
          <ac:graphicFrameMkLst>
            <pc:docMk/>
            <pc:sldMk cId="1590900993" sldId="366"/>
            <ac:graphicFrameMk id="3" creationId="{49D949B9-F5A6-2EB7-7653-554E4CEA8D3C}"/>
          </ac:graphicFrameMkLst>
        </pc:graphicFrameChg>
      </pc:sldChg>
      <pc:sldChg chg="modSp mod">
        <pc:chgData name="Kapalavayi, Ramya S" userId="da89255d-45c7-4da7-97eb-f3f90abcfd0b" providerId="ADAL" clId="{54F42806-C6C4-4BFD-8C9C-D21582D7D9BF}" dt="2023-07-25T14:21:30.824" v="697" actId="255"/>
        <pc:sldMkLst>
          <pc:docMk/>
          <pc:sldMk cId="565577296" sldId="3623"/>
        </pc:sldMkLst>
        <pc:graphicFrameChg chg="mod modGraphic">
          <ac:chgData name="Kapalavayi, Ramya S" userId="da89255d-45c7-4da7-97eb-f3f90abcfd0b" providerId="ADAL" clId="{54F42806-C6C4-4BFD-8C9C-D21582D7D9BF}" dt="2023-07-25T14:21:30.824" v="697" actId="255"/>
          <ac:graphicFrameMkLst>
            <pc:docMk/>
            <pc:sldMk cId="565577296" sldId="3623"/>
            <ac:graphicFrameMk id="14" creationId="{784E2B94-0ADA-4D5C-431D-86319FC4B7FC}"/>
          </ac:graphicFrameMkLst>
        </pc:graphicFrameChg>
      </pc:sldChg>
      <pc:sldChg chg="addSp delSp modSp">
        <pc:chgData name="Kapalavayi, Ramya S" userId="da89255d-45c7-4da7-97eb-f3f90abcfd0b" providerId="ADAL" clId="{54F42806-C6C4-4BFD-8C9C-D21582D7D9BF}" dt="2023-07-25T13:50:30.321" v="1"/>
        <pc:sldMkLst>
          <pc:docMk/>
          <pc:sldMk cId="3288433710" sldId="3668"/>
        </pc:sldMkLst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3" creationId="{E29432EB-84F1-8F67-8BBA-6338A5EE70D9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4" creationId="{702FE827-6723-63FF-518E-AD4C305411AC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5" creationId="{7CB29F70-813E-680E-B1CF-DF8EEF3EEE4D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7" creationId="{A159278C-2B48-AE85-28E9-968743D0918F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8" creationId="{91A28FE2-957C-4448-603D-E0D9B9DDF7A0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9" creationId="{C64199A8-A212-21BB-7CE8-B93895A5D0BF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0" creationId="{06DA9431-C48A-97CC-126B-82463DFD14AC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1" creationId="{9F7180A8-F5F8-F7AA-26BF-7692DFBB8F41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2" creationId="{7321C6C9-3515-B521-DD2F-4C1364BA2D05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3" creationId="{E692637C-C00C-A92F-0EF3-A4CD327BF02D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4" creationId="{451B9C55-4D93-E8A7-B300-AB1549037C9E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5" creationId="{025DF35B-505A-F5E2-BA21-D8B3C7EE7891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6" creationId="{A6F93AAC-D047-897A-044C-E18CD4973427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7" creationId="{7B8C1012-3FB2-A553-5698-B8D4E5984EF7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8" creationId="{459FF388-A325-07BF-7C9A-F7C9F411D922}"/>
          </ac:spMkLst>
        </pc:spChg>
        <pc:spChg chg="add del mod">
          <ac:chgData name="Kapalavayi, Ramya S" userId="da89255d-45c7-4da7-97eb-f3f90abcfd0b" providerId="ADAL" clId="{54F42806-C6C4-4BFD-8C9C-D21582D7D9BF}" dt="2023-07-25T13:50:30.321" v="1"/>
          <ac:spMkLst>
            <pc:docMk/>
            <pc:sldMk cId="3288433710" sldId="3668"/>
            <ac:spMk id="19" creationId="{88E1A1D2-8679-55F2-EC3C-4E56A40EBCE5}"/>
          </ac:spMkLst>
        </pc:spChg>
      </pc:sldChg>
      <pc:sldChg chg="modSp">
        <pc:chgData name="Kapalavayi, Ramya S" userId="da89255d-45c7-4da7-97eb-f3f90abcfd0b" providerId="ADAL" clId="{54F42806-C6C4-4BFD-8C9C-D21582D7D9BF}" dt="2023-07-25T13:59:42.787" v="542"/>
        <pc:sldMkLst>
          <pc:docMk/>
          <pc:sldMk cId="2421048366" sldId="3693"/>
        </pc:sldMkLst>
        <pc:graphicFrameChg chg="mod">
          <ac:chgData name="Kapalavayi, Ramya S" userId="da89255d-45c7-4da7-97eb-f3f90abcfd0b" providerId="ADAL" clId="{54F42806-C6C4-4BFD-8C9C-D21582D7D9BF}" dt="2023-07-25T13:59:42.787" v="542"/>
          <ac:graphicFrameMkLst>
            <pc:docMk/>
            <pc:sldMk cId="2421048366" sldId="3693"/>
            <ac:graphicFrameMk id="3" creationId="{F2AC375C-0224-506B-95B0-B87548D7E617}"/>
          </ac:graphicFrameMkLst>
        </pc:graphicFrameChg>
      </pc:sldChg>
      <pc:sldChg chg="addSp delSp modSp new mod ord">
        <pc:chgData name="Kapalavayi, Ramya S" userId="da89255d-45c7-4da7-97eb-f3f90abcfd0b" providerId="ADAL" clId="{54F42806-C6C4-4BFD-8C9C-D21582D7D9BF}" dt="2023-07-25T14:55:49.168" v="965" actId="404"/>
        <pc:sldMkLst>
          <pc:docMk/>
          <pc:sldMk cId="1292571507" sldId="3696"/>
        </pc:sldMkLst>
        <pc:spChg chg="add del mod">
          <ac:chgData name="Kapalavayi, Ramya S" userId="da89255d-45c7-4da7-97eb-f3f90abcfd0b" providerId="ADAL" clId="{54F42806-C6C4-4BFD-8C9C-D21582D7D9BF}" dt="2023-07-25T14:55:35.543" v="963" actId="1076"/>
          <ac:spMkLst>
            <pc:docMk/>
            <pc:sldMk cId="1292571507" sldId="3696"/>
            <ac:spMk id="2" creationId="{B8E534EA-FF2B-5BCF-2298-417F8D8737D8}"/>
          </ac:spMkLst>
        </pc:spChg>
        <pc:spChg chg="mod">
          <ac:chgData name="Kapalavayi, Ramya S" userId="da89255d-45c7-4da7-97eb-f3f90abcfd0b" providerId="ADAL" clId="{54F42806-C6C4-4BFD-8C9C-D21582D7D9BF}" dt="2023-07-25T14:08:09.936" v="606" actId="20577"/>
          <ac:spMkLst>
            <pc:docMk/>
            <pc:sldMk cId="1292571507" sldId="3696"/>
            <ac:spMk id="5" creationId="{DBABCCF0-F63F-CE20-666A-6652F7EC6B80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7" creationId="{4F15EC81-0858-4089-3269-9766C8419097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8" creationId="{057CEC46-1CD8-74A2-D1CF-5FAA6095094A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9" creationId="{98477625-E20C-C09E-278F-69BB19F5851C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0" creationId="{A7B67693-4BCA-6305-F4C5-A6C429AE4B74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1" creationId="{07F8451A-04CD-8FE3-7713-C9A23E49C34B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2" creationId="{474095F2-0CF0-7199-0B6F-630C5E49655B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3" creationId="{7B1F41A7-2FC7-2C03-8677-65A7B978DDAB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4" creationId="{6156D92D-76E5-D45A-DEF8-038C89528E58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5" creationId="{FEA9F74C-5D9D-670D-EC51-985D593527F7}"/>
          </ac:spMkLst>
        </pc:spChg>
        <pc:spChg chg="add del mod">
          <ac:chgData name="Kapalavayi, Ramya S" userId="da89255d-45c7-4da7-97eb-f3f90abcfd0b" providerId="ADAL" clId="{54F42806-C6C4-4BFD-8C9C-D21582D7D9BF}" dt="2023-07-25T13:57:59.601" v="432"/>
          <ac:spMkLst>
            <pc:docMk/>
            <pc:sldMk cId="1292571507" sldId="3696"/>
            <ac:spMk id="16" creationId="{0D8CFA31-6361-A5BA-9BFA-11778C5E35AB}"/>
          </ac:spMkLst>
        </pc:spChg>
        <pc:spChg chg="add del mod">
          <ac:chgData name="Kapalavayi, Ramya S" userId="da89255d-45c7-4da7-97eb-f3f90abcfd0b" providerId="ADAL" clId="{54F42806-C6C4-4BFD-8C9C-D21582D7D9BF}" dt="2023-07-25T13:55:06.836" v="199"/>
          <ac:spMkLst>
            <pc:docMk/>
            <pc:sldMk cId="1292571507" sldId="3696"/>
            <ac:spMk id="17" creationId="{30B3DF80-ECF3-4738-BCD6-36ED3A68FA76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18" creationId="{9E5DC394-127A-F6AE-0C44-EEB780AF08B1}"/>
          </ac:spMkLst>
        </pc:spChg>
        <pc:spChg chg="add del mod">
          <ac:chgData name="Kapalavayi, Ramya S" userId="da89255d-45c7-4da7-97eb-f3f90abcfd0b" providerId="ADAL" clId="{54F42806-C6C4-4BFD-8C9C-D21582D7D9BF}" dt="2023-07-25T13:53:35.297" v="149" actId="478"/>
          <ac:spMkLst>
            <pc:docMk/>
            <pc:sldMk cId="1292571507" sldId="3696"/>
            <ac:spMk id="19" creationId="{9BB57A40-46B2-FEE7-2A66-73F63E873C3C}"/>
          </ac:spMkLst>
        </pc:spChg>
        <pc:spChg chg="add del mod">
          <ac:chgData name="Kapalavayi, Ramya S" userId="da89255d-45c7-4da7-97eb-f3f90abcfd0b" providerId="ADAL" clId="{54F42806-C6C4-4BFD-8C9C-D21582D7D9BF}" dt="2023-07-25T13:59:31.341" v="540" actId="478"/>
          <ac:spMkLst>
            <pc:docMk/>
            <pc:sldMk cId="1292571507" sldId="3696"/>
            <ac:spMk id="20" creationId="{B7C94612-1B36-5E0B-A698-4664696DC70B}"/>
          </ac:spMkLst>
        </pc:spChg>
        <pc:spChg chg="add del mod">
          <ac:chgData name="Kapalavayi, Ramya S" userId="da89255d-45c7-4da7-97eb-f3f90abcfd0b" providerId="ADAL" clId="{54F42806-C6C4-4BFD-8C9C-D21582D7D9BF}" dt="2023-07-25T13:54:17.346" v="173" actId="478"/>
          <ac:spMkLst>
            <pc:docMk/>
            <pc:sldMk cId="1292571507" sldId="3696"/>
            <ac:spMk id="21" creationId="{12CE088F-BD05-8D04-3AD0-C14B17BDE4FA}"/>
          </ac:spMkLst>
        </pc:spChg>
        <pc:spChg chg="add del mod">
          <ac:chgData name="Kapalavayi, Ramya S" userId="da89255d-45c7-4da7-97eb-f3f90abcfd0b" providerId="ADAL" clId="{54F42806-C6C4-4BFD-8C9C-D21582D7D9BF}" dt="2023-07-25T14:00:36.133" v="547" actId="478"/>
          <ac:spMkLst>
            <pc:docMk/>
            <pc:sldMk cId="1292571507" sldId="3696"/>
            <ac:spMk id="22" creationId="{D39A6428-62F1-738F-0585-8A0E9057C3D1}"/>
          </ac:spMkLst>
        </pc:spChg>
        <pc:spChg chg="add del mod">
          <ac:chgData name="Kapalavayi, Ramya S" userId="da89255d-45c7-4da7-97eb-f3f90abcfd0b" providerId="ADAL" clId="{54F42806-C6C4-4BFD-8C9C-D21582D7D9BF}" dt="2023-07-25T13:55:47.715" v="203"/>
          <ac:spMkLst>
            <pc:docMk/>
            <pc:sldMk cId="1292571507" sldId="3696"/>
            <ac:spMk id="23" creationId="{F09934BF-571D-1F5C-00B7-61F6577A568D}"/>
          </ac:spMkLst>
        </pc:spChg>
        <pc:spChg chg="add del mod">
          <ac:chgData name="Kapalavayi, Ramya S" userId="da89255d-45c7-4da7-97eb-f3f90abcfd0b" providerId="ADAL" clId="{54F42806-C6C4-4BFD-8C9C-D21582D7D9BF}" dt="2023-07-25T13:56:10.149" v="210"/>
          <ac:spMkLst>
            <pc:docMk/>
            <pc:sldMk cId="1292571507" sldId="3696"/>
            <ac:spMk id="24" creationId="{CFD97DA1-3078-5E35-82D8-D056637B2D0B}"/>
          </ac:spMkLst>
        </pc:spChg>
        <pc:spChg chg="add del mod">
          <ac:chgData name="Kapalavayi, Ramya S" userId="da89255d-45c7-4da7-97eb-f3f90abcfd0b" providerId="ADAL" clId="{54F42806-C6C4-4BFD-8C9C-D21582D7D9BF}" dt="2023-07-25T13:56:08.802" v="208"/>
          <ac:spMkLst>
            <pc:docMk/>
            <pc:sldMk cId="1292571507" sldId="3696"/>
            <ac:spMk id="25" creationId="{7CDDC67B-3E2A-FD92-3237-6500ED406F1F}"/>
          </ac:spMkLst>
        </pc:spChg>
        <pc:spChg chg="add del mod">
          <ac:chgData name="Kapalavayi, Ramya S" userId="da89255d-45c7-4da7-97eb-f3f90abcfd0b" providerId="ADAL" clId="{54F42806-C6C4-4BFD-8C9C-D21582D7D9BF}" dt="2023-07-25T13:56:46.133" v="310"/>
          <ac:spMkLst>
            <pc:docMk/>
            <pc:sldMk cId="1292571507" sldId="3696"/>
            <ac:spMk id="26" creationId="{65044D73-741A-0093-7C4E-54173084E701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27" creationId="{B587130D-F408-02A4-FDC2-35A069810C0B}"/>
          </ac:spMkLst>
        </pc:spChg>
        <pc:spChg chg="add del mod">
          <ac:chgData name="Kapalavayi, Ramya S" userId="da89255d-45c7-4da7-97eb-f3f90abcfd0b" providerId="ADAL" clId="{54F42806-C6C4-4BFD-8C9C-D21582D7D9BF}" dt="2023-07-25T13:58:23.653" v="435"/>
          <ac:spMkLst>
            <pc:docMk/>
            <pc:sldMk cId="1292571507" sldId="3696"/>
            <ac:spMk id="28" creationId="{F91C9C64-99B6-AD02-8D76-20A94417C975}"/>
          </ac:spMkLst>
        </pc:spChg>
        <pc:spChg chg="add mod">
          <ac:chgData name="Kapalavayi, Ramya S" userId="da89255d-45c7-4da7-97eb-f3f90abcfd0b" providerId="ADAL" clId="{54F42806-C6C4-4BFD-8C9C-D21582D7D9BF}" dt="2023-07-25T14:55:49.168" v="965" actId="404"/>
          <ac:spMkLst>
            <pc:docMk/>
            <pc:sldMk cId="1292571507" sldId="3696"/>
            <ac:spMk id="29" creationId="{21023B2F-2A4C-13E7-1738-EBA5D845D058}"/>
          </ac:spMkLst>
        </pc:spChg>
        <pc:spChg chg="add del mod">
          <ac:chgData name="Kapalavayi, Ramya S" userId="da89255d-45c7-4da7-97eb-f3f90abcfd0b" providerId="ADAL" clId="{54F42806-C6C4-4BFD-8C9C-D21582D7D9BF}" dt="2023-07-25T13:58:50.242" v="533"/>
          <ac:spMkLst>
            <pc:docMk/>
            <pc:sldMk cId="1292571507" sldId="3696"/>
            <ac:spMk id="30" creationId="{0F8F1E41-38B6-90DA-6C76-37EE20D63EF1}"/>
          </ac:spMkLst>
        </pc:spChg>
        <pc:spChg chg="add del mod">
          <ac:chgData name="Kapalavayi, Ramya S" userId="da89255d-45c7-4da7-97eb-f3f90abcfd0b" providerId="ADAL" clId="{54F42806-C6C4-4BFD-8C9C-D21582D7D9BF}" dt="2023-07-25T14:13:41.347" v="613" actId="478"/>
          <ac:spMkLst>
            <pc:docMk/>
            <pc:sldMk cId="1292571507" sldId="3696"/>
            <ac:spMk id="32" creationId="{A83EFE03-46C6-8847-B826-5CBBDFF01572}"/>
          </ac:spMkLst>
        </pc:spChg>
        <pc:graphicFrameChg chg="add mod">
          <ac:chgData name="Kapalavayi, Ramya S" userId="da89255d-45c7-4da7-97eb-f3f90abcfd0b" providerId="ADAL" clId="{54F42806-C6C4-4BFD-8C9C-D21582D7D9BF}" dt="2023-07-25T14:50:41.199" v="955"/>
          <ac:graphicFrameMkLst>
            <pc:docMk/>
            <pc:sldMk cId="1292571507" sldId="3696"/>
            <ac:graphicFrameMk id="33" creationId="{E695C035-AC45-2788-C42A-048E284FBED4}"/>
          </ac:graphicFrameMkLst>
        </pc:graphicFrameChg>
        <pc:picChg chg="add del mod">
          <ac:chgData name="Kapalavayi, Ramya S" userId="da89255d-45c7-4da7-97eb-f3f90abcfd0b" providerId="ADAL" clId="{54F42806-C6C4-4BFD-8C9C-D21582D7D9BF}" dt="2023-07-25T14:11:25.764" v="610" actId="478"/>
          <ac:picMkLst>
            <pc:docMk/>
            <pc:sldMk cId="1292571507" sldId="3696"/>
            <ac:picMk id="31" creationId="{9E0928CE-645C-8D18-D330-0B3038C07FE4}"/>
          </ac:picMkLst>
        </pc:picChg>
      </pc:sldChg>
      <pc:sldChg chg="new del">
        <pc:chgData name="Kapalavayi, Ramya S" userId="da89255d-45c7-4da7-97eb-f3f90abcfd0b" providerId="ADAL" clId="{54F42806-C6C4-4BFD-8C9C-D21582D7D9BF}" dt="2023-07-25T13:50:34.645" v="3" actId="47"/>
        <pc:sldMkLst>
          <pc:docMk/>
          <pc:sldMk cId="3253555472" sldId="3696"/>
        </pc:sldMkLst>
      </pc:sldChg>
      <pc:sldChg chg="modSp del mod">
        <pc:chgData name="Kapalavayi, Ramya S" userId="da89255d-45c7-4da7-97eb-f3f90abcfd0b" providerId="ADAL" clId="{54F42806-C6C4-4BFD-8C9C-D21582D7D9BF}" dt="2023-07-25T14:28:36.784" v="709" actId="47"/>
        <pc:sldMkLst>
          <pc:docMk/>
          <pc:sldMk cId="1595270826" sldId="3698"/>
        </pc:sldMkLst>
        <pc:graphicFrameChg chg="mod">
          <ac:chgData name="Kapalavayi, Ramya S" userId="da89255d-45c7-4da7-97eb-f3f90abcfd0b" providerId="ADAL" clId="{54F42806-C6C4-4BFD-8C9C-D21582D7D9BF}" dt="2023-07-25T14:28:15.632" v="708"/>
          <ac:graphicFrameMkLst>
            <pc:docMk/>
            <pc:sldMk cId="1595270826" sldId="3698"/>
            <ac:graphicFrameMk id="7" creationId="{E939E121-8AF5-681A-87F9-64171F9C37A6}"/>
          </ac:graphicFrameMkLst>
        </pc:graphicFrameChg>
      </pc:sldChg>
      <pc:sldChg chg="modSp">
        <pc:chgData name="Kapalavayi, Ramya S" userId="da89255d-45c7-4da7-97eb-f3f90abcfd0b" providerId="ADAL" clId="{54F42806-C6C4-4BFD-8C9C-D21582D7D9BF}" dt="2023-07-25T14:46:04.289" v="893" actId="14100"/>
        <pc:sldMkLst>
          <pc:docMk/>
          <pc:sldMk cId="7283056" sldId="3699"/>
        </pc:sldMkLst>
        <pc:picChg chg="mod">
          <ac:chgData name="Kapalavayi, Ramya S" userId="da89255d-45c7-4da7-97eb-f3f90abcfd0b" providerId="ADAL" clId="{54F42806-C6C4-4BFD-8C9C-D21582D7D9BF}" dt="2023-07-25T14:46:04.289" v="893" actId="14100"/>
          <ac:picMkLst>
            <pc:docMk/>
            <pc:sldMk cId="7283056" sldId="3699"/>
            <ac:picMk id="1026" creationId="{ADC73774-88E3-910B-FD10-1ACCC34480C2}"/>
          </ac:picMkLst>
        </pc:picChg>
        <pc:picChg chg="mod">
          <ac:chgData name="Kapalavayi, Ramya S" userId="da89255d-45c7-4da7-97eb-f3f90abcfd0b" providerId="ADAL" clId="{54F42806-C6C4-4BFD-8C9C-D21582D7D9BF}" dt="2023-07-25T14:45:40.585" v="890" actId="14100"/>
          <ac:picMkLst>
            <pc:docMk/>
            <pc:sldMk cId="7283056" sldId="3699"/>
            <ac:picMk id="1028" creationId="{3792C0A6-5B10-FBCE-9AF0-CE644A0FE7F2}"/>
          </ac:picMkLst>
        </pc:picChg>
        <pc:picChg chg="mod">
          <ac:chgData name="Kapalavayi, Ramya S" userId="da89255d-45c7-4da7-97eb-f3f90abcfd0b" providerId="ADAL" clId="{54F42806-C6C4-4BFD-8C9C-D21582D7D9BF}" dt="2023-07-25T14:45:32.932" v="888" actId="1076"/>
          <ac:picMkLst>
            <pc:docMk/>
            <pc:sldMk cId="7283056" sldId="3699"/>
            <ac:picMk id="3074" creationId="{8092548F-3286-17AE-99D6-18DA291A7366}"/>
          </ac:picMkLst>
        </pc:picChg>
      </pc:sldChg>
    </pc:docChg>
  </pc:docChgLst>
  <pc:docChgLst>
    <pc:chgData name="Mehta, Vishesh" userId="8163c1b2-ac67-48e1-8e9d-442917a9f10d" providerId="ADAL" clId="{B33366B7-98F2-4BB4-B06A-46E2F1121269}"/>
    <pc:docChg chg="addSld delSld modSld">
      <pc:chgData name="Mehta, Vishesh" userId="8163c1b2-ac67-48e1-8e9d-442917a9f10d" providerId="ADAL" clId="{B33366B7-98F2-4BB4-B06A-46E2F1121269}" dt="2023-07-24T18:54:36.504" v="4"/>
      <pc:docMkLst>
        <pc:docMk/>
      </pc:docMkLst>
      <pc:sldChg chg="del">
        <pc:chgData name="Mehta, Vishesh" userId="8163c1b2-ac67-48e1-8e9d-442917a9f10d" providerId="ADAL" clId="{B33366B7-98F2-4BB4-B06A-46E2F1121269}" dt="2023-07-24T18:54:26.963" v="1" actId="47"/>
        <pc:sldMkLst>
          <pc:docMk/>
          <pc:sldMk cId="1288853237" sldId="364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263492114" sldId="373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934410680" sldId="374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993928964" sldId="375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764615936" sldId="3590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4206793325" sldId="3591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76983750" sldId="3592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668365039" sldId="3600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2075373323" sldId="3603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74220009" sldId="3607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681187675" sldId="3613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919112467" sldId="3620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322107948" sldId="3621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565577296" sldId="3623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096146122" sldId="3624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082899506" sldId="3626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2165706493" sldId="3627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041550661" sldId="3630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4013788771" sldId="3644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517762579" sldId="3645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170731709" sldId="3650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2443036134" sldId="3651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2256973423" sldId="3652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837715525" sldId="3655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888414523" sldId="3657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2435110380" sldId="3658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3440181352" sldId="3660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3407244912" sldId="3661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395837216" sldId="3662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3606768679" sldId="3663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3677005564" sldId="3664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764194520" sldId="3665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4129765501" sldId="3666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424117049" sldId="3667"/>
        </pc:sldMkLst>
      </pc:sldChg>
      <pc:sldChg chg="add del">
        <pc:chgData name="Mehta, Vishesh" userId="8163c1b2-ac67-48e1-8e9d-442917a9f10d" providerId="ADAL" clId="{B33366B7-98F2-4BB4-B06A-46E2F1121269}" dt="2023-07-24T18:54:36.504" v="4"/>
        <pc:sldMkLst>
          <pc:docMk/>
          <pc:sldMk cId="3288433710" sldId="3668"/>
        </pc:sldMkLst>
      </pc:sldChg>
      <pc:sldChg chg="add del">
        <pc:chgData name="Mehta, Vishesh" userId="8163c1b2-ac67-48e1-8e9d-442917a9f10d" providerId="ADAL" clId="{B33366B7-98F2-4BB4-B06A-46E2F1121269}" dt="2023-07-24T18:54:36.504" v="4"/>
        <pc:sldMkLst>
          <pc:docMk/>
          <pc:sldMk cId="141854972" sldId="3669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910266834" sldId="3672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1801146514" sldId="3673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2139945382" sldId="3674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448567852" sldId="3675"/>
        </pc:sldMkLst>
      </pc:sldChg>
      <pc:sldChg chg="add del">
        <pc:chgData name="Mehta, Vishesh" userId="8163c1b2-ac67-48e1-8e9d-442917a9f10d" providerId="ADAL" clId="{B33366B7-98F2-4BB4-B06A-46E2F1121269}" dt="2023-07-24T18:54:36.504" v="4"/>
        <pc:sldMkLst>
          <pc:docMk/>
          <pc:sldMk cId="133270248" sldId="3676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914518731" sldId="3677"/>
        </pc:sldMkLst>
      </pc:sldChg>
      <pc:sldChg chg="del">
        <pc:chgData name="Mehta, Vishesh" userId="8163c1b2-ac67-48e1-8e9d-442917a9f10d" providerId="ADAL" clId="{B33366B7-98F2-4BB4-B06A-46E2F1121269}" dt="2023-07-24T18:54:30.237" v="2" actId="47"/>
        <pc:sldMkLst>
          <pc:docMk/>
          <pc:sldMk cId="3708552941" sldId="3677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531076749" sldId="3678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973177099" sldId="3681"/>
        </pc:sldMkLst>
      </pc:sldChg>
      <pc:sldChg chg="add del">
        <pc:chgData name="Mehta, Vishesh" userId="8163c1b2-ac67-48e1-8e9d-442917a9f10d" providerId="ADAL" clId="{B33366B7-98F2-4BB4-B06A-46E2F1121269}" dt="2023-07-24T18:54:36.504" v="4"/>
        <pc:sldMkLst>
          <pc:docMk/>
          <pc:sldMk cId="400507667" sldId="3682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515151804" sldId="3684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2365724163" sldId="3685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2275920435" sldId="3686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3928833677" sldId="3687"/>
        </pc:sldMkLst>
      </pc:sldChg>
      <pc:sldChg chg="add">
        <pc:chgData name="Mehta, Vishesh" userId="8163c1b2-ac67-48e1-8e9d-442917a9f10d" providerId="ADAL" clId="{B33366B7-98F2-4BB4-B06A-46E2F1121269}" dt="2023-07-24T18:54:36.504" v="4"/>
        <pc:sldMkLst>
          <pc:docMk/>
          <pc:sldMk cId="1116620279" sldId="3688"/>
        </pc:sldMkLst>
      </pc:sldChg>
    </pc:docChg>
  </pc:docChgLst>
  <pc:docChgLst>
    <pc:chgData name="Shimpi, Piyusha S" userId="0c019c91-0821-4529-9dc2-02375fba2f06" providerId="ADAL" clId="{325C667E-42ED-4135-9B97-F6C17157C320}"/>
    <pc:docChg chg="undo custSel addSld delSld modSld sldOrd modSection">
      <pc:chgData name="Shimpi, Piyusha S" userId="0c019c91-0821-4529-9dc2-02375fba2f06" providerId="ADAL" clId="{325C667E-42ED-4135-9B97-F6C17157C320}" dt="2023-07-25T10:21:21.057" v="978" actId="1076"/>
      <pc:docMkLst>
        <pc:docMk/>
      </pc:docMkLst>
      <pc:sldChg chg="modSp mod">
        <pc:chgData name="Shimpi, Piyusha S" userId="0c019c91-0821-4529-9dc2-02375fba2f06" providerId="ADAL" clId="{325C667E-42ED-4135-9B97-F6C17157C320}" dt="2023-07-25T05:28:08.984" v="118" actId="1440"/>
        <pc:sldMkLst>
          <pc:docMk/>
          <pc:sldMk cId="3993928964" sldId="375"/>
        </pc:sldMkLst>
        <pc:picChg chg="mod">
          <ac:chgData name="Shimpi, Piyusha S" userId="0c019c91-0821-4529-9dc2-02375fba2f06" providerId="ADAL" clId="{325C667E-42ED-4135-9B97-F6C17157C320}" dt="2023-07-25T05:28:08.984" v="118" actId="1440"/>
          <ac:picMkLst>
            <pc:docMk/>
            <pc:sldMk cId="3993928964" sldId="375"/>
            <ac:picMk id="2" creationId="{D1FD387D-BB4D-A483-16AE-B2DB3C25586E}"/>
          </ac:picMkLst>
        </pc:picChg>
        <pc:picChg chg="mod">
          <ac:chgData name="Shimpi, Piyusha S" userId="0c019c91-0821-4529-9dc2-02375fba2f06" providerId="ADAL" clId="{325C667E-42ED-4135-9B97-F6C17157C320}" dt="2023-07-25T05:28:04.958" v="117" actId="1440"/>
          <ac:picMkLst>
            <pc:docMk/>
            <pc:sldMk cId="3993928964" sldId="375"/>
            <ac:picMk id="7" creationId="{8A4E5224-F2A2-FEFD-AADE-516DA09AF255}"/>
          </ac:picMkLst>
        </pc:picChg>
      </pc:sldChg>
      <pc:sldChg chg="addSp delSp modSp mod">
        <pc:chgData name="Shimpi, Piyusha S" userId="0c019c91-0821-4529-9dc2-02375fba2f06" providerId="ADAL" clId="{325C667E-42ED-4135-9B97-F6C17157C320}" dt="2023-07-25T05:27:07.077" v="113" actId="1440"/>
        <pc:sldMkLst>
          <pc:docMk/>
          <pc:sldMk cId="1764615936" sldId="3590"/>
        </pc:sldMkLst>
        <pc:picChg chg="add del mod">
          <ac:chgData name="Shimpi, Piyusha S" userId="0c019c91-0821-4529-9dc2-02375fba2f06" providerId="ADAL" clId="{325C667E-42ED-4135-9B97-F6C17157C320}" dt="2023-07-24T19:39:34.054" v="6" actId="478"/>
          <ac:picMkLst>
            <pc:docMk/>
            <pc:sldMk cId="1764615936" sldId="3590"/>
            <ac:picMk id="2" creationId="{2411F6EA-BDCC-49E5-024D-C084EB929544}"/>
          </ac:picMkLst>
        </pc:picChg>
        <pc:picChg chg="mod">
          <ac:chgData name="Shimpi, Piyusha S" userId="0c019c91-0821-4529-9dc2-02375fba2f06" providerId="ADAL" clId="{325C667E-42ED-4135-9B97-F6C17157C320}" dt="2023-07-25T05:27:07.077" v="113" actId="1440"/>
          <ac:picMkLst>
            <pc:docMk/>
            <pc:sldMk cId="1764615936" sldId="3590"/>
            <ac:picMk id="10" creationId="{A1EBDF93-28A1-0F16-9736-9F6975920003}"/>
          </ac:picMkLst>
        </pc:picChg>
      </pc:sldChg>
      <pc:sldChg chg="addSp delSp modSp mod">
        <pc:chgData name="Shimpi, Piyusha S" userId="0c019c91-0821-4529-9dc2-02375fba2f06" providerId="ADAL" clId="{325C667E-42ED-4135-9B97-F6C17157C320}" dt="2023-07-25T10:00:05.786" v="947" actId="20577"/>
        <pc:sldMkLst>
          <pc:docMk/>
          <pc:sldMk cId="4206793325" sldId="3591"/>
        </pc:sldMkLst>
        <pc:spChg chg="mod">
          <ac:chgData name="Shimpi, Piyusha S" userId="0c019c91-0821-4529-9dc2-02375fba2f06" providerId="ADAL" clId="{325C667E-42ED-4135-9B97-F6C17157C320}" dt="2023-07-25T10:00:05.786" v="947" actId="20577"/>
          <ac:spMkLst>
            <pc:docMk/>
            <pc:sldMk cId="4206793325" sldId="3591"/>
            <ac:spMk id="5" creationId="{96C6F917-AD77-C6BB-7591-8FA0F5035FF5}"/>
          </ac:spMkLst>
        </pc:spChg>
        <pc:spChg chg="add del mod">
          <ac:chgData name="Shimpi, Piyusha S" userId="0c019c91-0821-4529-9dc2-02375fba2f06" providerId="ADAL" clId="{325C667E-42ED-4135-9B97-F6C17157C320}" dt="2023-07-24T19:39:53.238" v="12" actId="478"/>
          <ac:spMkLst>
            <pc:docMk/>
            <pc:sldMk cId="4206793325" sldId="3591"/>
            <ac:spMk id="9" creationId="{DEA7A6F8-A16F-C6DB-FBFE-D8B2245C3D82}"/>
          </ac:spMkLst>
        </pc:spChg>
        <pc:picChg chg="add mod">
          <ac:chgData name="Shimpi, Piyusha S" userId="0c019c91-0821-4529-9dc2-02375fba2f06" providerId="ADAL" clId="{325C667E-42ED-4135-9B97-F6C17157C320}" dt="2023-07-25T05:27:22.154" v="114" actId="1440"/>
          <ac:picMkLst>
            <pc:docMk/>
            <pc:sldMk cId="4206793325" sldId="3591"/>
            <ac:picMk id="2" creationId="{CD8591CD-CE5C-ADCE-476F-F1196643EA73}"/>
          </ac:picMkLst>
        </pc:picChg>
        <pc:picChg chg="del">
          <ac:chgData name="Shimpi, Piyusha S" userId="0c019c91-0821-4529-9dc2-02375fba2f06" providerId="ADAL" clId="{325C667E-42ED-4135-9B97-F6C17157C320}" dt="2023-07-24T19:39:46.865" v="9" actId="478"/>
          <ac:picMkLst>
            <pc:docMk/>
            <pc:sldMk cId="4206793325" sldId="3591"/>
            <ac:picMk id="10" creationId="{D84BFF90-10F4-7A5B-FF8B-03463435361F}"/>
          </ac:picMkLst>
        </pc:picChg>
      </pc:sldChg>
      <pc:sldChg chg="modSp mod">
        <pc:chgData name="Shimpi, Piyusha S" userId="0c019c91-0821-4529-9dc2-02375fba2f06" providerId="ADAL" clId="{325C667E-42ED-4135-9B97-F6C17157C320}" dt="2023-07-25T05:28:41.414" v="123" actId="1440"/>
        <pc:sldMkLst>
          <pc:docMk/>
          <pc:sldMk cId="176983750" sldId="3592"/>
        </pc:sldMkLst>
        <pc:picChg chg="mod">
          <ac:chgData name="Shimpi, Piyusha S" userId="0c019c91-0821-4529-9dc2-02375fba2f06" providerId="ADAL" clId="{325C667E-42ED-4135-9B97-F6C17157C320}" dt="2023-07-25T05:28:41.414" v="123" actId="1440"/>
          <ac:picMkLst>
            <pc:docMk/>
            <pc:sldMk cId="176983750" sldId="3592"/>
            <ac:picMk id="2" creationId="{E1E180D7-328E-C51B-574F-3E7FB17B2D39}"/>
          </ac:picMkLst>
        </pc:picChg>
      </pc:sldChg>
      <pc:sldChg chg="modSp mod">
        <pc:chgData name="Shimpi, Piyusha S" userId="0c019c91-0821-4529-9dc2-02375fba2f06" providerId="ADAL" clId="{325C667E-42ED-4135-9B97-F6C17157C320}" dt="2023-07-25T05:28:35.820" v="122" actId="1440"/>
        <pc:sldMkLst>
          <pc:docMk/>
          <pc:sldMk cId="1668365039" sldId="3600"/>
        </pc:sldMkLst>
        <pc:picChg chg="mod">
          <ac:chgData name="Shimpi, Piyusha S" userId="0c019c91-0821-4529-9dc2-02375fba2f06" providerId="ADAL" clId="{325C667E-42ED-4135-9B97-F6C17157C320}" dt="2023-07-25T05:28:35.820" v="122" actId="1440"/>
          <ac:picMkLst>
            <pc:docMk/>
            <pc:sldMk cId="1668365039" sldId="3600"/>
            <ac:picMk id="9" creationId="{4EA28CA8-048C-A8A0-F7C4-3B8DAB13AAD7}"/>
          </ac:picMkLst>
        </pc:picChg>
      </pc:sldChg>
      <pc:sldChg chg="modSp mod">
        <pc:chgData name="Shimpi, Piyusha S" userId="0c019c91-0821-4529-9dc2-02375fba2f06" providerId="ADAL" clId="{325C667E-42ED-4135-9B97-F6C17157C320}" dt="2023-07-25T05:28:24.275" v="120" actId="1440"/>
        <pc:sldMkLst>
          <pc:docMk/>
          <pc:sldMk cId="374220009" sldId="3607"/>
        </pc:sldMkLst>
        <pc:picChg chg="mod">
          <ac:chgData name="Shimpi, Piyusha S" userId="0c019c91-0821-4529-9dc2-02375fba2f06" providerId="ADAL" clId="{325C667E-42ED-4135-9B97-F6C17157C320}" dt="2023-07-25T05:28:24.275" v="120" actId="1440"/>
          <ac:picMkLst>
            <pc:docMk/>
            <pc:sldMk cId="374220009" sldId="3607"/>
            <ac:picMk id="5" creationId="{7D538574-47DC-4BB9-6C73-0F339E094983}"/>
          </ac:picMkLst>
        </pc:picChg>
      </pc:sldChg>
      <pc:sldChg chg="addSp delSp modSp mod">
        <pc:chgData name="Shimpi, Piyusha S" userId="0c019c91-0821-4529-9dc2-02375fba2f06" providerId="ADAL" clId="{325C667E-42ED-4135-9B97-F6C17157C320}" dt="2023-07-25T05:27:34.665" v="116" actId="1440"/>
        <pc:sldMkLst>
          <pc:docMk/>
          <pc:sldMk cId="3919112467" sldId="3620"/>
        </pc:sldMkLst>
        <pc:spChg chg="add mod">
          <ac:chgData name="Shimpi, Piyusha S" userId="0c019c91-0821-4529-9dc2-02375fba2f06" providerId="ADAL" clId="{325C667E-42ED-4135-9B97-F6C17157C320}" dt="2023-07-24T19:56:15.839" v="26" actId="20577"/>
          <ac:spMkLst>
            <pc:docMk/>
            <pc:sldMk cId="3919112467" sldId="3620"/>
            <ac:spMk id="4" creationId="{D94499B1-A0BE-DDF5-E022-B5326ADA44B7}"/>
          </ac:spMkLst>
        </pc:spChg>
        <pc:spChg chg="add mod">
          <ac:chgData name="Shimpi, Piyusha S" userId="0c019c91-0821-4529-9dc2-02375fba2f06" providerId="ADAL" clId="{325C667E-42ED-4135-9B97-F6C17157C320}" dt="2023-07-24T19:56:39.574" v="45" actId="20577"/>
          <ac:spMkLst>
            <pc:docMk/>
            <pc:sldMk cId="3919112467" sldId="3620"/>
            <ac:spMk id="6" creationId="{7A341635-594F-491F-0701-7A40813E82B3}"/>
          </ac:spMkLst>
        </pc:spChg>
        <pc:picChg chg="add del mod">
          <ac:chgData name="Shimpi, Piyusha S" userId="0c019c91-0821-4529-9dc2-02375fba2f06" providerId="ADAL" clId="{325C667E-42ED-4135-9B97-F6C17157C320}" dt="2023-07-24T19:55:57.002" v="18"/>
          <ac:picMkLst>
            <pc:docMk/>
            <pc:sldMk cId="3919112467" sldId="3620"/>
            <ac:picMk id="2" creationId="{5AA60B30-3090-EBDF-D87A-1C5C6BD9A673}"/>
          </ac:picMkLst>
        </pc:picChg>
        <pc:picChg chg="mod">
          <ac:chgData name="Shimpi, Piyusha S" userId="0c019c91-0821-4529-9dc2-02375fba2f06" providerId="ADAL" clId="{325C667E-42ED-4135-9B97-F6C17157C320}" dt="2023-07-25T05:27:34.665" v="116" actId="1440"/>
          <ac:picMkLst>
            <pc:docMk/>
            <pc:sldMk cId="3919112467" sldId="3620"/>
            <ac:picMk id="9" creationId="{A93EDF4C-9B6D-93CF-F590-9DE5D2B8E88F}"/>
          </ac:picMkLst>
        </pc:picChg>
        <pc:picChg chg="mod">
          <ac:chgData name="Shimpi, Piyusha S" userId="0c019c91-0821-4529-9dc2-02375fba2f06" providerId="ADAL" clId="{325C667E-42ED-4135-9B97-F6C17157C320}" dt="2023-07-25T05:27:31.029" v="115" actId="1440"/>
          <ac:picMkLst>
            <pc:docMk/>
            <pc:sldMk cId="3919112467" sldId="3620"/>
            <ac:picMk id="19" creationId="{E2BC185D-8202-82BF-D83C-7F6F01A064F9}"/>
          </ac:picMkLst>
        </pc:picChg>
      </pc:sldChg>
      <pc:sldChg chg="modSp mod">
        <pc:chgData name="Shimpi, Piyusha S" userId="0c019c91-0821-4529-9dc2-02375fba2f06" providerId="ADAL" clId="{325C667E-42ED-4135-9B97-F6C17157C320}" dt="2023-07-25T06:39:35.023" v="833" actId="20577"/>
        <pc:sldMkLst>
          <pc:docMk/>
          <pc:sldMk cId="565577296" sldId="3623"/>
        </pc:sldMkLst>
        <pc:spChg chg="mod">
          <ac:chgData name="Shimpi, Piyusha S" userId="0c019c91-0821-4529-9dc2-02375fba2f06" providerId="ADAL" clId="{325C667E-42ED-4135-9B97-F6C17157C320}" dt="2023-07-25T06:39:35.023" v="833" actId="20577"/>
          <ac:spMkLst>
            <pc:docMk/>
            <pc:sldMk cId="565577296" sldId="3623"/>
            <ac:spMk id="1085" creationId="{5F2F0D4A-7DEE-4EA9-822C-7A91555E6497}"/>
          </ac:spMkLst>
        </pc:spChg>
      </pc:sldChg>
      <pc:sldChg chg="modSp mod">
        <pc:chgData name="Shimpi, Piyusha S" userId="0c019c91-0821-4529-9dc2-02375fba2f06" providerId="ADAL" clId="{325C667E-42ED-4135-9B97-F6C17157C320}" dt="2023-07-25T06:51:26.054" v="838" actId="14100"/>
        <pc:sldMkLst>
          <pc:docMk/>
          <pc:sldMk cId="3096146122" sldId="3624"/>
        </pc:sldMkLst>
        <pc:picChg chg="mod">
          <ac:chgData name="Shimpi, Piyusha S" userId="0c019c91-0821-4529-9dc2-02375fba2f06" providerId="ADAL" clId="{325C667E-42ED-4135-9B97-F6C17157C320}" dt="2023-07-25T06:51:26.054" v="838" actId="14100"/>
          <ac:picMkLst>
            <pc:docMk/>
            <pc:sldMk cId="3096146122" sldId="3624"/>
            <ac:picMk id="2" creationId="{BE0ED366-EE71-FB6A-9DEB-07C331B4DB40}"/>
          </ac:picMkLst>
        </pc:picChg>
        <pc:picChg chg="mod">
          <ac:chgData name="Shimpi, Piyusha S" userId="0c019c91-0821-4529-9dc2-02375fba2f06" providerId="ADAL" clId="{325C667E-42ED-4135-9B97-F6C17157C320}" dt="2023-07-25T05:28:31.368" v="121" actId="1440"/>
          <ac:picMkLst>
            <pc:docMk/>
            <pc:sldMk cId="3096146122" sldId="3624"/>
            <ac:picMk id="12" creationId="{4E5A18BD-E7C2-D127-5DFD-6B5EEBC348F8}"/>
          </ac:picMkLst>
        </pc:picChg>
      </pc:sldChg>
      <pc:sldChg chg="modSp mod">
        <pc:chgData name="Shimpi, Piyusha S" userId="0c019c91-0821-4529-9dc2-02375fba2f06" providerId="ADAL" clId="{325C667E-42ED-4135-9B97-F6C17157C320}" dt="2023-07-25T09:54:46.466" v="853" actId="1076"/>
        <pc:sldMkLst>
          <pc:docMk/>
          <pc:sldMk cId="3082899506" sldId="3626"/>
        </pc:sldMkLst>
        <pc:spChg chg="mod">
          <ac:chgData name="Shimpi, Piyusha S" userId="0c019c91-0821-4529-9dc2-02375fba2f06" providerId="ADAL" clId="{325C667E-42ED-4135-9B97-F6C17157C320}" dt="2023-07-25T05:24:55.706" v="111" actId="20577"/>
          <ac:spMkLst>
            <pc:docMk/>
            <pc:sldMk cId="3082899506" sldId="3626"/>
            <ac:spMk id="5" creationId="{DFD95816-8702-54C7-4B7B-E00F71282D9B}"/>
          </ac:spMkLst>
        </pc:spChg>
        <pc:spChg chg="mod">
          <ac:chgData name="Shimpi, Piyusha S" userId="0c019c91-0821-4529-9dc2-02375fba2f06" providerId="ADAL" clId="{325C667E-42ED-4135-9B97-F6C17157C320}" dt="2023-07-25T05:34:14.321" v="131" actId="1076"/>
          <ac:spMkLst>
            <pc:docMk/>
            <pc:sldMk cId="3082899506" sldId="3626"/>
            <ac:spMk id="13" creationId="{B18BFE59-B6D8-AC00-225D-B15D4E1EAA1A}"/>
          </ac:spMkLst>
        </pc:spChg>
        <pc:spChg chg="mod">
          <ac:chgData name="Shimpi, Piyusha S" userId="0c019c91-0821-4529-9dc2-02375fba2f06" providerId="ADAL" clId="{325C667E-42ED-4135-9B97-F6C17157C320}" dt="2023-07-25T09:54:46.466" v="853" actId="1076"/>
          <ac:spMkLst>
            <pc:docMk/>
            <pc:sldMk cId="3082899506" sldId="3626"/>
            <ac:spMk id="15" creationId="{E1DA6EC6-2BA2-F0F7-A15D-796E0BDB7337}"/>
          </ac:spMkLst>
        </pc:spChg>
        <pc:spChg chg="mod">
          <ac:chgData name="Shimpi, Piyusha S" userId="0c019c91-0821-4529-9dc2-02375fba2f06" providerId="ADAL" clId="{325C667E-42ED-4135-9B97-F6C17157C320}" dt="2023-07-25T09:54:17.018" v="847" actId="21"/>
          <ac:spMkLst>
            <pc:docMk/>
            <pc:sldMk cId="3082899506" sldId="3626"/>
            <ac:spMk id="18" creationId="{057D7E52-67CF-0D87-972C-1A8A6C48F5BA}"/>
          </ac:spMkLst>
        </pc:spChg>
        <pc:spChg chg="mod">
          <ac:chgData name="Shimpi, Piyusha S" userId="0c019c91-0821-4529-9dc2-02375fba2f06" providerId="ADAL" clId="{325C667E-42ED-4135-9B97-F6C17157C320}" dt="2023-07-25T05:35:26.520" v="133" actId="113"/>
          <ac:spMkLst>
            <pc:docMk/>
            <pc:sldMk cId="3082899506" sldId="3626"/>
            <ac:spMk id="33" creationId="{F580F67C-9208-E64D-3AE8-627EF19CC5F1}"/>
          </ac:spMkLst>
        </pc:spChg>
        <pc:spChg chg="mod">
          <ac:chgData name="Shimpi, Piyusha S" userId="0c019c91-0821-4529-9dc2-02375fba2f06" providerId="ADAL" clId="{325C667E-42ED-4135-9B97-F6C17157C320}" dt="2023-07-25T05:35:52.955" v="136" actId="113"/>
          <ac:spMkLst>
            <pc:docMk/>
            <pc:sldMk cId="3082899506" sldId="3626"/>
            <ac:spMk id="34" creationId="{D519E393-5E7D-2F07-8BFF-5F6EAFE2E516}"/>
          </ac:spMkLst>
        </pc:spChg>
        <pc:spChg chg="mod">
          <ac:chgData name="Shimpi, Piyusha S" userId="0c019c91-0821-4529-9dc2-02375fba2f06" providerId="ADAL" clId="{325C667E-42ED-4135-9B97-F6C17157C320}" dt="2023-07-25T05:37:32.467" v="145" actId="1076"/>
          <ac:spMkLst>
            <pc:docMk/>
            <pc:sldMk cId="3082899506" sldId="3626"/>
            <ac:spMk id="35" creationId="{74AF5699-CCF0-652A-7C2F-AFEEA8770FCA}"/>
          </ac:spMkLst>
        </pc:spChg>
        <pc:spChg chg="mod">
          <ac:chgData name="Shimpi, Piyusha S" userId="0c019c91-0821-4529-9dc2-02375fba2f06" providerId="ADAL" clId="{325C667E-42ED-4135-9B97-F6C17157C320}" dt="2023-07-25T05:39:26.825" v="149" actId="113"/>
          <ac:spMkLst>
            <pc:docMk/>
            <pc:sldMk cId="3082899506" sldId="3626"/>
            <ac:spMk id="36" creationId="{F64A350E-53FC-9590-E367-F702620203B1}"/>
          </ac:spMkLst>
        </pc:spChg>
        <pc:spChg chg="mod">
          <ac:chgData name="Shimpi, Piyusha S" userId="0c019c91-0821-4529-9dc2-02375fba2f06" providerId="ADAL" clId="{325C667E-42ED-4135-9B97-F6C17157C320}" dt="2023-07-25T05:36:53.001" v="141" actId="113"/>
          <ac:spMkLst>
            <pc:docMk/>
            <pc:sldMk cId="3082899506" sldId="3626"/>
            <ac:spMk id="38" creationId="{DDFA83C6-3292-3743-313B-03BF4EC71950}"/>
          </ac:spMkLst>
        </pc:spChg>
        <pc:spChg chg="mod">
          <ac:chgData name="Shimpi, Piyusha S" userId="0c019c91-0821-4529-9dc2-02375fba2f06" providerId="ADAL" clId="{325C667E-42ED-4135-9B97-F6C17157C320}" dt="2023-07-25T05:39:53.801" v="151" actId="20577"/>
          <ac:spMkLst>
            <pc:docMk/>
            <pc:sldMk cId="3082899506" sldId="3626"/>
            <ac:spMk id="71" creationId="{068BAFFA-5F9F-B354-E5E9-5738771D457A}"/>
          </ac:spMkLst>
        </pc:spChg>
        <pc:grpChg chg="mod">
          <ac:chgData name="Shimpi, Piyusha S" userId="0c019c91-0821-4529-9dc2-02375fba2f06" providerId="ADAL" clId="{325C667E-42ED-4135-9B97-F6C17157C320}" dt="2023-07-25T05:39:42.518" v="150" actId="1076"/>
          <ac:grpSpMkLst>
            <pc:docMk/>
            <pc:sldMk cId="3082899506" sldId="3626"/>
            <ac:grpSpMk id="8" creationId="{9E36FE9D-B92C-1F45-E15C-EA1F1DABA701}"/>
          </ac:grpSpMkLst>
        </pc:grpChg>
      </pc:sldChg>
      <pc:sldChg chg="modSp mod">
        <pc:chgData name="Shimpi, Piyusha S" userId="0c019c91-0821-4529-9dc2-02375fba2f06" providerId="ADAL" clId="{325C667E-42ED-4135-9B97-F6C17157C320}" dt="2023-07-25T05:28:15.491" v="119" actId="1440"/>
        <pc:sldMkLst>
          <pc:docMk/>
          <pc:sldMk cId="2165706493" sldId="3627"/>
        </pc:sldMkLst>
        <pc:picChg chg="mod">
          <ac:chgData name="Shimpi, Piyusha S" userId="0c019c91-0821-4529-9dc2-02375fba2f06" providerId="ADAL" clId="{325C667E-42ED-4135-9B97-F6C17157C320}" dt="2023-07-25T05:28:15.491" v="119" actId="1440"/>
          <ac:picMkLst>
            <pc:docMk/>
            <pc:sldMk cId="2165706493" sldId="3627"/>
            <ac:picMk id="5" creationId="{8A47CD56-C969-3D94-D3D0-69E0CB875D6A}"/>
          </ac:picMkLst>
        </pc:picChg>
      </pc:sldChg>
      <pc:sldChg chg="modSp mod">
        <pc:chgData name="Shimpi, Piyusha S" userId="0c019c91-0821-4529-9dc2-02375fba2f06" providerId="ADAL" clId="{325C667E-42ED-4135-9B97-F6C17157C320}" dt="2023-07-25T10:17:52.633" v="977" actId="1076"/>
        <pc:sldMkLst>
          <pc:docMk/>
          <pc:sldMk cId="1041550661" sldId="3630"/>
        </pc:sldMkLst>
        <pc:spChg chg="mod">
          <ac:chgData name="Shimpi, Piyusha S" userId="0c019c91-0821-4529-9dc2-02375fba2f06" providerId="ADAL" clId="{325C667E-42ED-4135-9B97-F6C17157C320}" dt="2023-07-25T10:17:52.633" v="977" actId="1076"/>
          <ac:spMkLst>
            <pc:docMk/>
            <pc:sldMk cId="1041550661" sldId="3630"/>
            <ac:spMk id="4" creationId="{3EB051B3-A1EC-2451-A6D0-7FEC3DDF39AA}"/>
          </ac:spMkLst>
        </pc:spChg>
        <pc:picChg chg="mod">
          <ac:chgData name="Shimpi, Piyusha S" userId="0c019c91-0821-4529-9dc2-02375fba2f06" providerId="ADAL" clId="{325C667E-42ED-4135-9B97-F6C17157C320}" dt="2023-07-25T10:17:45.489" v="976" actId="1076"/>
          <ac:picMkLst>
            <pc:docMk/>
            <pc:sldMk cId="1041550661" sldId="3630"/>
            <ac:picMk id="2" creationId="{786A36DD-DF06-98F7-BCB8-3274960E6B72}"/>
          </ac:picMkLst>
        </pc:picChg>
      </pc:sldChg>
      <pc:sldChg chg="delSp modSp mod">
        <pc:chgData name="Shimpi, Piyusha S" userId="0c019c91-0821-4529-9dc2-02375fba2f06" providerId="ADAL" clId="{325C667E-42ED-4135-9B97-F6C17157C320}" dt="2023-07-25T10:01:44.918" v="949" actId="27636"/>
        <pc:sldMkLst>
          <pc:docMk/>
          <pc:sldMk cId="3288433710" sldId="3668"/>
        </pc:sldMkLst>
        <pc:spChg chg="mod">
          <ac:chgData name="Shimpi, Piyusha S" userId="0c019c91-0821-4529-9dc2-02375fba2f06" providerId="ADAL" clId="{325C667E-42ED-4135-9B97-F6C17157C320}" dt="2023-07-25T10:01:44.918" v="949" actId="27636"/>
          <ac:spMkLst>
            <pc:docMk/>
            <pc:sldMk cId="3288433710" sldId="3668"/>
            <ac:spMk id="2" creationId="{9A7983BD-92D8-A770-7824-C5E1F25185A1}"/>
          </ac:spMkLst>
        </pc:spChg>
        <pc:spChg chg="del mod">
          <ac:chgData name="Shimpi, Piyusha S" userId="0c019c91-0821-4529-9dc2-02375fba2f06" providerId="ADAL" clId="{325C667E-42ED-4135-9B97-F6C17157C320}" dt="2023-07-25T07:21:37.473" v="842" actId="478"/>
          <ac:spMkLst>
            <pc:docMk/>
            <pc:sldMk cId="3288433710" sldId="3668"/>
            <ac:spMk id="18" creationId="{4E4E941D-10CF-A743-C31C-D1168150DE00}"/>
          </ac:spMkLst>
        </pc:spChg>
        <pc:spChg chg="del">
          <ac:chgData name="Shimpi, Piyusha S" userId="0c019c91-0821-4529-9dc2-02375fba2f06" providerId="ADAL" clId="{325C667E-42ED-4135-9B97-F6C17157C320}" dt="2023-07-25T07:21:57.349" v="843" actId="478"/>
          <ac:spMkLst>
            <pc:docMk/>
            <pc:sldMk cId="3288433710" sldId="3668"/>
            <ac:spMk id="19" creationId="{6380627F-128A-B01C-1726-C30B816612F3}"/>
          </ac:spMkLst>
        </pc:spChg>
      </pc:sldChg>
      <pc:sldChg chg="mod modShow">
        <pc:chgData name="Shimpi, Piyusha S" userId="0c019c91-0821-4529-9dc2-02375fba2f06" providerId="ADAL" clId="{325C667E-42ED-4135-9B97-F6C17157C320}" dt="2023-07-25T09:51:59.646" v="845" actId="729"/>
        <pc:sldMkLst>
          <pc:docMk/>
          <pc:sldMk cId="141854972" sldId="3669"/>
        </pc:sldMkLst>
      </pc:sldChg>
      <pc:sldChg chg="mod modShow">
        <pc:chgData name="Shimpi, Piyusha S" userId="0c019c91-0821-4529-9dc2-02375fba2f06" providerId="ADAL" clId="{325C667E-42ED-4135-9B97-F6C17157C320}" dt="2023-07-25T09:51:56.762" v="844" actId="729"/>
        <pc:sldMkLst>
          <pc:docMk/>
          <pc:sldMk cId="133270248" sldId="3676"/>
        </pc:sldMkLst>
      </pc:sldChg>
      <pc:sldChg chg="modSp mod">
        <pc:chgData name="Shimpi, Piyusha S" userId="0c019c91-0821-4529-9dc2-02375fba2f06" providerId="ADAL" clId="{325C667E-42ED-4135-9B97-F6C17157C320}" dt="2023-07-25T05:22:15.304" v="93" actId="1440"/>
        <pc:sldMkLst>
          <pc:docMk/>
          <pc:sldMk cId="973177099" sldId="3681"/>
        </pc:sldMkLst>
        <pc:picChg chg="mod">
          <ac:chgData name="Shimpi, Piyusha S" userId="0c019c91-0821-4529-9dc2-02375fba2f06" providerId="ADAL" clId="{325C667E-42ED-4135-9B97-F6C17157C320}" dt="2023-07-25T05:22:15.304" v="93" actId="1440"/>
          <ac:picMkLst>
            <pc:docMk/>
            <pc:sldMk cId="973177099" sldId="3681"/>
            <ac:picMk id="2" creationId="{358D5B13-1BB9-2567-74EA-4B43838CA054}"/>
          </ac:picMkLst>
        </pc:picChg>
      </pc:sldChg>
      <pc:sldChg chg="addSp delSp mod">
        <pc:chgData name="Shimpi, Piyusha S" userId="0c019c91-0821-4529-9dc2-02375fba2f06" providerId="ADAL" clId="{325C667E-42ED-4135-9B97-F6C17157C320}" dt="2023-07-24T18:59:12.527" v="1" actId="22"/>
        <pc:sldMkLst>
          <pc:docMk/>
          <pc:sldMk cId="400507667" sldId="3682"/>
        </pc:sldMkLst>
        <pc:spChg chg="add del">
          <ac:chgData name="Shimpi, Piyusha S" userId="0c019c91-0821-4529-9dc2-02375fba2f06" providerId="ADAL" clId="{325C667E-42ED-4135-9B97-F6C17157C320}" dt="2023-07-24T18:59:12.527" v="1" actId="22"/>
          <ac:spMkLst>
            <pc:docMk/>
            <pc:sldMk cId="400507667" sldId="3682"/>
            <ac:spMk id="3" creationId="{8AE102B0-31BB-83AD-812A-3D95CDF02391}"/>
          </ac:spMkLst>
        </pc:spChg>
      </pc:sldChg>
      <pc:sldChg chg="addSp delSp modSp mod ord modShow">
        <pc:chgData name="Shimpi, Piyusha S" userId="0c019c91-0821-4529-9dc2-02375fba2f06" providerId="ADAL" clId="{325C667E-42ED-4135-9B97-F6C17157C320}" dt="2023-07-25T09:52:05.583" v="846" actId="729"/>
        <pc:sldMkLst>
          <pc:docMk/>
          <pc:sldMk cId="515151804" sldId="3684"/>
        </pc:sldMkLst>
        <pc:spChg chg="add mod">
          <ac:chgData name="Shimpi, Piyusha S" userId="0c019c91-0821-4529-9dc2-02375fba2f06" providerId="ADAL" clId="{325C667E-42ED-4135-9B97-F6C17157C320}" dt="2023-07-25T06:08:33.773" v="709"/>
          <ac:spMkLst>
            <pc:docMk/>
            <pc:sldMk cId="515151804" sldId="3684"/>
            <ac:spMk id="3" creationId="{9217A537-2431-C030-E022-EBB3293DCDC7}"/>
          </ac:spMkLst>
        </pc:spChg>
        <pc:spChg chg="mod">
          <ac:chgData name="Shimpi, Piyusha S" userId="0c019c91-0821-4529-9dc2-02375fba2f06" providerId="ADAL" clId="{325C667E-42ED-4135-9B97-F6C17157C320}" dt="2023-07-25T06:06:47.174" v="707" actId="1076"/>
          <ac:spMkLst>
            <pc:docMk/>
            <pc:sldMk cId="515151804" sldId="3684"/>
            <ac:spMk id="5" creationId="{3A1610A4-CF58-15A3-8277-B14BA5A36C62}"/>
          </ac:spMkLst>
        </pc:spChg>
        <pc:spChg chg="add mod">
          <ac:chgData name="Shimpi, Piyusha S" userId="0c019c91-0821-4529-9dc2-02375fba2f06" providerId="ADAL" clId="{325C667E-42ED-4135-9B97-F6C17157C320}" dt="2023-07-25T06:08:33.773" v="709"/>
          <ac:spMkLst>
            <pc:docMk/>
            <pc:sldMk cId="515151804" sldId="3684"/>
            <ac:spMk id="6" creationId="{82ECF719-87F2-D44D-7CF4-53389C0FCDCF}"/>
          </ac:spMkLst>
        </pc:spChg>
        <pc:spChg chg="mod">
          <ac:chgData name="Shimpi, Piyusha S" userId="0c019c91-0821-4529-9dc2-02375fba2f06" providerId="ADAL" clId="{325C667E-42ED-4135-9B97-F6C17157C320}" dt="2023-07-25T06:06:46.128" v="706" actId="1076"/>
          <ac:spMkLst>
            <pc:docMk/>
            <pc:sldMk cId="515151804" sldId="3684"/>
            <ac:spMk id="9" creationId="{796EDA30-93F1-275A-9B19-F19C07288BBF}"/>
          </ac:spMkLst>
        </pc:spChg>
        <pc:spChg chg="mod">
          <ac:chgData name="Shimpi, Piyusha S" userId="0c019c91-0821-4529-9dc2-02375fba2f06" providerId="ADAL" clId="{325C667E-42ED-4135-9B97-F6C17157C320}" dt="2023-07-25T06:10:55.337" v="742" actId="1076"/>
          <ac:spMkLst>
            <pc:docMk/>
            <pc:sldMk cId="515151804" sldId="3684"/>
            <ac:spMk id="11" creationId="{6508DD98-0603-00B8-53A8-6948CD1250DB}"/>
          </ac:spMkLst>
        </pc:spChg>
        <pc:grpChg chg="add del mod">
          <ac:chgData name="Shimpi, Piyusha S" userId="0c019c91-0821-4529-9dc2-02375fba2f06" providerId="ADAL" clId="{325C667E-42ED-4135-9B97-F6C17157C320}" dt="2023-07-25T06:08:39.726" v="711" actId="478"/>
          <ac:grpSpMkLst>
            <pc:docMk/>
            <pc:sldMk cId="515151804" sldId="3684"/>
            <ac:grpSpMk id="2" creationId="{61179A0C-F1F3-9131-E870-F6BD843D2337}"/>
          </ac:grpSpMkLst>
        </pc:grpChg>
        <pc:graphicFrameChg chg="mod">
          <ac:chgData name="Shimpi, Piyusha S" userId="0c019c91-0821-4529-9dc2-02375fba2f06" providerId="ADAL" clId="{325C667E-42ED-4135-9B97-F6C17157C320}" dt="2023-07-25T06:09:11.329" v="715"/>
          <ac:graphicFrameMkLst>
            <pc:docMk/>
            <pc:sldMk cId="515151804" sldId="3684"/>
            <ac:graphicFrameMk id="8" creationId="{7D9AA59B-5A16-6128-246A-26A2BB98E43F}"/>
          </ac:graphicFrameMkLst>
        </pc:graphicFrameChg>
        <pc:picChg chg="add mod">
          <ac:chgData name="Shimpi, Piyusha S" userId="0c019c91-0821-4529-9dc2-02375fba2f06" providerId="ADAL" clId="{325C667E-42ED-4135-9B97-F6C17157C320}" dt="2023-07-25T06:08:33.773" v="709"/>
          <ac:picMkLst>
            <pc:docMk/>
            <pc:sldMk cId="515151804" sldId="3684"/>
            <ac:picMk id="7" creationId="{C2A02B52-439E-BA46-4EB9-402092480CC7}"/>
          </ac:picMkLst>
        </pc:picChg>
        <pc:picChg chg="add mod">
          <ac:chgData name="Shimpi, Piyusha S" userId="0c019c91-0821-4529-9dc2-02375fba2f06" providerId="ADAL" clId="{325C667E-42ED-4135-9B97-F6C17157C320}" dt="2023-07-25T06:08:33.773" v="709"/>
          <ac:picMkLst>
            <pc:docMk/>
            <pc:sldMk cId="515151804" sldId="3684"/>
            <ac:picMk id="10" creationId="{9A63F0A9-21C3-309E-F55F-6E5EBEB7FC68}"/>
          </ac:picMkLst>
        </pc:picChg>
        <pc:picChg chg="add mod">
          <ac:chgData name="Shimpi, Piyusha S" userId="0c019c91-0821-4529-9dc2-02375fba2f06" providerId="ADAL" clId="{325C667E-42ED-4135-9B97-F6C17157C320}" dt="2023-07-25T06:08:33.773" v="709"/>
          <ac:picMkLst>
            <pc:docMk/>
            <pc:sldMk cId="515151804" sldId="3684"/>
            <ac:picMk id="12" creationId="{508A4D3C-9D6F-FBDE-D5D4-06E46D52C5D5}"/>
          </ac:picMkLst>
        </pc:picChg>
        <pc:picChg chg="add del mod">
          <ac:chgData name="Shimpi, Piyusha S" userId="0c019c91-0821-4529-9dc2-02375fba2f06" providerId="ADAL" clId="{325C667E-42ED-4135-9B97-F6C17157C320}" dt="2023-07-25T06:08:59.421" v="714" actId="478"/>
          <ac:picMkLst>
            <pc:docMk/>
            <pc:sldMk cId="515151804" sldId="3684"/>
            <ac:picMk id="1026" creationId="{695A3007-BDD8-C2B2-0EA4-4A3A21409904}"/>
          </ac:picMkLst>
        </pc:picChg>
      </pc:sldChg>
      <pc:sldChg chg="addSp delSp modSp mod">
        <pc:chgData name="Shimpi, Piyusha S" userId="0c019c91-0821-4529-9dc2-02375fba2f06" providerId="ADAL" clId="{325C667E-42ED-4135-9B97-F6C17157C320}" dt="2023-07-25T05:58:47.417" v="687" actId="20577"/>
        <pc:sldMkLst>
          <pc:docMk/>
          <pc:sldMk cId="2365724163" sldId="3685"/>
        </pc:sldMkLst>
        <pc:spChg chg="mod">
          <ac:chgData name="Shimpi, Piyusha S" userId="0c019c91-0821-4529-9dc2-02375fba2f06" providerId="ADAL" clId="{325C667E-42ED-4135-9B97-F6C17157C320}" dt="2023-07-25T05:58:23.510" v="686" actId="1076"/>
          <ac:spMkLst>
            <pc:docMk/>
            <pc:sldMk cId="2365724163" sldId="3685"/>
            <ac:spMk id="5" creationId="{77A83CFE-9526-1DFD-1048-DB4A1744327E}"/>
          </ac:spMkLst>
        </pc:spChg>
        <pc:graphicFrameChg chg="add del mod modGraphic">
          <ac:chgData name="Shimpi, Piyusha S" userId="0c019c91-0821-4529-9dc2-02375fba2f06" providerId="ADAL" clId="{325C667E-42ED-4135-9B97-F6C17157C320}" dt="2023-07-25T05:46:52.144" v="323" actId="478"/>
          <ac:graphicFrameMkLst>
            <pc:docMk/>
            <pc:sldMk cId="2365724163" sldId="3685"/>
            <ac:graphicFrameMk id="2" creationId="{239C397C-E615-A1DB-A6A9-5492D24B181D}"/>
          </ac:graphicFrameMkLst>
        </pc:graphicFrameChg>
        <pc:graphicFrameChg chg="add mod modGraphic">
          <ac:chgData name="Shimpi, Piyusha S" userId="0c019c91-0821-4529-9dc2-02375fba2f06" providerId="ADAL" clId="{325C667E-42ED-4135-9B97-F6C17157C320}" dt="2023-07-25T05:58:47.417" v="687" actId="20577"/>
          <ac:graphicFrameMkLst>
            <pc:docMk/>
            <pc:sldMk cId="2365724163" sldId="3685"/>
            <ac:graphicFrameMk id="3" creationId="{F2AC375C-0224-506B-95B0-B87548D7E617}"/>
          </ac:graphicFrameMkLst>
        </pc:graphicFrameChg>
        <pc:graphicFrameChg chg="del mod">
          <ac:chgData name="Shimpi, Piyusha S" userId="0c019c91-0821-4529-9dc2-02375fba2f06" providerId="ADAL" clId="{325C667E-42ED-4135-9B97-F6C17157C320}" dt="2023-07-25T05:41:55.082" v="197" actId="478"/>
          <ac:graphicFrameMkLst>
            <pc:docMk/>
            <pc:sldMk cId="2365724163" sldId="3685"/>
            <ac:graphicFrameMk id="9" creationId="{DFDE0912-B75C-FA8E-3BC4-0A9B32B091D6}"/>
          </ac:graphicFrameMkLst>
        </pc:graphicFrameChg>
      </pc:sldChg>
      <pc:sldChg chg="delSp modSp mod ord modShow">
        <pc:chgData name="Shimpi, Piyusha S" userId="0c019c91-0821-4529-9dc2-02375fba2f06" providerId="ADAL" clId="{325C667E-42ED-4135-9B97-F6C17157C320}" dt="2023-07-25T06:23:27.509" v="804" actId="729"/>
        <pc:sldMkLst>
          <pc:docMk/>
          <pc:sldMk cId="2275920435" sldId="3686"/>
        </pc:sldMkLst>
        <pc:spChg chg="del mod">
          <ac:chgData name="Shimpi, Piyusha S" userId="0c019c91-0821-4529-9dc2-02375fba2f06" providerId="ADAL" clId="{325C667E-42ED-4135-9B97-F6C17157C320}" dt="2023-07-25T05:29:02.509" v="125" actId="478"/>
          <ac:spMkLst>
            <pc:docMk/>
            <pc:sldMk cId="2275920435" sldId="3686"/>
            <ac:spMk id="3" creationId="{611A962D-100A-E3F9-0518-33B7D9582F43}"/>
          </ac:spMkLst>
        </pc:spChg>
        <pc:spChg chg="del">
          <ac:chgData name="Shimpi, Piyusha S" userId="0c019c91-0821-4529-9dc2-02375fba2f06" providerId="ADAL" clId="{325C667E-42ED-4135-9B97-F6C17157C320}" dt="2023-07-25T05:29:05.872" v="126" actId="478"/>
          <ac:spMkLst>
            <pc:docMk/>
            <pc:sldMk cId="2275920435" sldId="3686"/>
            <ac:spMk id="6" creationId="{E8837D60-67E2-52AD-DACB-222BA64D3124}"/>
          </ac:spMkLst>
        </pc:spChg>
      </pc:sldChg>
      <pc:sldChg chg="addSp delSp modSp mod">
        <pc:chgData name="Shimpi, Piyusha S" userId="0c019c91-0821-4529-9dc2-02375fba2f06" providerId="ADAL" clId="{325C667E-42ED-4135-9B97-F6C17157C320}" dt="2023-07-25T10:07:26.370" v="960" actId="14861"/>
        <pc:sldMkLst>
          <pc:docMk/>
          <pc:sldMk cId="1116620279" sldId="3688"/>
        </pc:sldMkLst>
        <pc:spChg chg="mod">
          <ac:chgData name="Shimpi, Piyusha S" userId="0c019c91-0821-4529-9dc2-02375fba2f06" providerId="ADAL" clId="{325C667E-42ED-4135-9B97-F6C17157C320}" dt="2023-07-25T05:17:17.372" v="67" actId="404"/>
          <ac:spMkLst>
            <pc:docMk/>
            <pc:sldMk cId="1116620279" sldId="3688"/>
            <ac:spMk id="2" creationId="{805D7EBA-D99F-33AA-8E88-0E2B0034FBBF}"/>
          </ac:spMkLst>
        </pc:spChg>
        <pc:spChg chg="mod">
          <ac:chgData name="Shimpi, Piyusha S" userId="0c019c91-0821-4529-9dc2-02375fba2f06" providerId="ADAL" clId="{325C667E-42ED-4135-9B97-F6C17157C320}" dt="2023-07-25T05:13:55.791" v="53" actId="1076"/>
          <ac:spMkLst>
            <pc:docMk/>
            <pc:sldMk cId="1116620279" sldId="3688"/>
            <ac:spMk id="6" creationId="{E05400EB-FAA3-FD2D-961E-BE09CADE3E25}"/>
          </ac:spMkLst>
        </pc:spChg>
        <pc:spChg chg="mod">
          <ac:chgData name="Shimpi, Piyusha S" userId="0c019c91-0821-4529-9dc2-02375fba2f06" providerId="ADAL" clId="{325C667E-42ED-4135-9B97-F6C17157C320}" dt="2023-07-25T05:20:02.382" v="81" actId="1076"/>
          <ac:spMkLst>
            <pc:docMk/>
            <pc:sldMk cId="1116620279" sldId="3688"/>
            <ac:spMk id="9" creationId="{1D909D3D-1D12-6BE0-1E70-B9B6C6F1E923}"/>
          </ac:spMkLst>
        </pc:spChg>
        <pc:spChg chg="add del mod">
          <ac:chgData name="Shimpi, Piyusha S" userId="0c019c91-0821-4529-9dc2-02375fba2f06" providerId="ADAL" clId="{325C667E-42ED-4135-9B97-F6C17157C320}" dt="2023-07-25T05:15:54.740" v="57" actId="478"/>
          <ac:spMkLst>
            <pc:docMk/>
            <pc:sldMk cId="1116620279" sldId="3688"/>
            <ac:spMk id="10" creationId="{F1B96891-AD5E-3894-E452-4F4F29A1C535}"/>
          </ac:spMkLst>
        </pc:spChg>
        <pc:spChg chg="add del mod">
          <ac:chgData name="Shimpi, Piyusha S" userId="0c019c91-0821-4529-9dc2-02375fba2f06" providerId="ADAL" clId="{325C667E-42ED-4135-9B97-F6C17157C320}" dt="2023-07-25T10:06:44.241" v="954" actId="478"/>
          <ac:spMkLst>
            <pc:docMk/>
            <pc:sldMk cId="1116620279" sldId="3688"/>
            <ac:spMk id="15" creationId="{04FC6738-1FAB-003B-3879-C81548386283}"/>
          </ac:spMkLst>
        </pc:spChg>
        <pc:picChg chg="mod">
          <ac:chgData name="Shimpi, Piyusha S" userId="0c019c91-0821-4529-9dc2-02375fba2f06" providerId="ADAL" clId="{325C667E-42ED-4135-9B97-F6C17157C320}" dt="2023-07-25T05:20:39.676" v="87" actId="14100"/>
          <ac:picMkLst>
            <pc:docMk/>
            <pc:sldMk cId="1116620279" sldId="3688"/>
            <ac:picMk id="8" creationId="{8F9ADFD7-2325-CED6-BC3F-B839FEA5F304}"/>
          </ac:picMkLst>
        </pc:picChg>
        <pc:picChg chg="del mod">
          <ac:chgData name="Shimpi, Piyusha S" userId="0c019c91-0821-4529-9dc2-02375fba2f06" providerId="ADAL" clId="{325C667E-42ED-4135-9B97-F6C17157C320}" dt="2023-07-25T10:06:40.940" v="952" actId="478"/>
          <ac:picMkLst>
            <pc:docMk/>
            <pc:sldMk cId="1116620279" sldId="3688"/>
            <ac:picMk id="12" creationId="{706FE15C-D11E-2384-A946-C4C7A01ABDBC}"/>
          </ac:picMkLst>
        </pc:picChg>
        <pc:picChg chg="add mod">
          <ac:chgData name="Shimpi, Piyusha S" userId="0c019c91-0821-4529-9dc2-02375fba2f06" providerId="ADAL" clId="{325C667E-42ED-4135-9B97-F6C17157C320}" dt="2023-07-25T05:18:27.435" v="72" actId="14861"/>
          <ac:picMkLst>
            <pc:docMk/>
            <pc:sldMk cId="1116620279" sldId="3688"/>
            <ac:picMk id="13" creationId="{E2ECDDAB-E505-4A41-DE09-771B9FA246DB}"/>
          </ac:picMkLst>
        </pc:picChg>
        <pc:picChg chg="add mod">
          <ac:chgData name="Shimpi, Piyusha S" userId="0c019c91-0821-4529-9dc2-02375fba2f06" providerId="ADAL" clId="{325C667E-42ED-4135-9B97-F6C17157C320}" dt="2023-07-25T10:07:26.370" v="960" actId="14861"/>
          <ac:picMkLst>
            <pc:docMk/>
            <pc:sldMk cId="1116620279" sldId="3688"/>
            <ac:picMk id="17" creationId="{B50CB2C7-2A7C-0F29-F734-BFD94CA37407}"/>
          </ac:picMkLst>
        </pc:picChg>
        <pc:picChg chg="del">
          <ac:chgData name="Shimpi, Piyusha S" userId="0c019c91-0821-4529-9dc2-02375fba2f06" providerId="ADAL" clId="{325C667E-42ED-4135-9B97-F6C17157C320}" dt="2023-07-25T05:15:52.501" v="55" actId="478"/>
          <ac:picMkLst>
            <pc:docMk/>
            <pc:sldMk cId="1116620279" sldId="3688"/>
            <ac:picMk id="10242" creationId="{48C770E6-E9BD-F252-59E5-3CDF662C38C7}"/>
          </ac:picMkLst>
        </pc:picChg>
      </pc:sldChg>
      <pc:sldChg chg="add del">
        <pc:chgData name="Shimpi, Piyusha S" userId="0c019c91-0821-4529-9dc2-02375fba2f06" providerId="ADAL" clId="{325C667E-42ED-4135-9B97-F6C17157C320}" dt="2023-07-25T05:17:42.833" v="71" actId="47"/>
        <pc:sldMkLst>
          <pc:docMk/>
          <pc:sldMk cId="1395945379" sldId="3689"/>
        </pc:sldMkLst>
      </pc:sldChg>
      <pc:sldChg chg="addSp delSp modSp mod">
        <pc:chgData name="Shimpi, Piyusha S" userId="0c019c91-0821-4529-9dc2-02375fba2f06" providerId="ADAL" clId="{325C667E-42ED-4135-9B97-F6C17157C320}" dt="2023-07-25T10:21:21.057" v="978" actId="1076"/>
        <pc:sldMkLst>
          <pc:docMk/>
          <pc:sldMk cId="3225873929" sldId="3689"/>
        </pc:sldMkLst>
        <pc:spChg chg="mod">
          <ac:chgData name="Shimpi, Piyusha S" userId="0c019c91-0821-4529-9dc2-02375fba2f06" providerId="ADAL" clId="{325C667E-42ED-4135-9B97-F6C17157C320}" dt="2023-07-25T06:51:52.757" v="840" actId="1076"/>
          <ac:spMkLst>
            <pc:docMk/>
            <pc:sldMk cId="3225873929" sldId="3689"/>
            <ac:spMk id="3" creationId="{0BD7ABD0-FFBC-BEBA-0DE3-F93E2E032A87}"/>
          </ac:spMkLst>
        </pc:spChg>
        <pc:spChg chg="mod">
          <ac:chgData name="Shimpi, Piyusha S" userId="0c019c91-0821-4529-9dc2-02375fba2f06" providerId="ADAL" clId="{325C667E-42ED-4135-9B97-F6C17157C320}" dt="2023-07-25T10:11:45.941" v="961" actId="207"/>
          <ac:spMkLst>
            <pc:docMk/>
            <pc:sldMk cId="3225873929" sldId="3689"/>
            <ac:spMk id="8" creationId="{D853EDD1-193E-9B78-FA53-78AE482D8420}"/>
          </ac:spMkLst>
        </pc:spChg>
        <pc:graphicFrameChg chg="mod">
          <ac:chgData name="Shimpi, Piyusha S" userId="0c019c91-0821-4529-9dc2-02375fba2f06" providerId="ADAL" clId="{325C667E-42ED-4135-9B97-F6C17157C320}" dt="2023-07-25T06:25:25.360" v="806" actId="14100"/>
          <ac:graphicFrameMkLst>
            <pc:docMk/>
            <pc:sldMk cId="3225873929" sldId="3689"/>
            <ac:graphicFrameMk id="20" creationId="{ACCE8555-74B7-43A2-E8A4-BB2A1473667F}"/>
          </ac:graphicFrameMkLst>
        </pc:graphicFrameChg>
        <pc:picChg chg="mod">
          <ac:chgData name="Shimpi, Piyusha S" userId="0c019c91-0821-4529-9dc2-02375fba2f06" providerId="ADAL" clId="{325C667E-42ED-4135-9B97-F6C17157C320}" dt="2023-07-25T10:21:21.057" v="978" actId="1076"/>
          <ac:picMkLst>
            <pc:docMk/>
            <pc:sldMk cId="3225873929" sldId="3689"/>
            <ac:picMk id="6" creationId="{28E45702-3E37-A2F5-AF05-390E8751AA42}"/>
          </ac:picMkLst>
        </pc:picChg>
        <pc:picChg chg="add del mod">
          <ac:chgData name="Shimpi, Piyusha S" userId="0c019c91-0821-4529-9dc2-02375fba2f06" providerId="ADAL" clId="{325C667E-42ED-4135-9B97-F6C17157C320}" dt="2023-07-25T10:14:26.110" v="966" actId="478"/>
          <ac:picMkLst>
            <pc:docMk/>
            <pc:sldMk cId="3225873929" sldId="3689"/>
            <ac:picMk id="1028" creationId="{CE55DCB9-4FB3-1DD7-80E9-E4AE55EEB1FD}"/>
          </ac:picMkLst>
        </pc:picChg>
        <pc:picChg chg="add del mod">
          <ac:chgData name="Shimpi, Piyusha S" userId="0c019c91-0821-4529-9dc2-02375fba2f06" providerId="ADAL" clId="{325C667E-42ED-4135-9B97-F6C17157C320}" dt="2023-07-25T10:15:04.905" v="975" actId="1076"/>
          <ac:picMkLst>
            <pc:docMk/>
            <pc:sldMk cId="3225873929" sldId="3689"/>
            <ac:picMk id="3074" creationId="{8092548F-3286-17AE-99D6-18DA291A7366}"/>
          </ac:picMkLst>
        </pc:picChg>
      </pc:sldChg>
      <pc:sldChg chg="addSp delSp modSp new mod">
        <pc:chgData name="Shimpi, Piyusha S" userId="0c019c91-0821-4529-9dc2-02375fba2f06" providerId="ADAL" clId="{325C667E-42ED-4135-9B97-F6C17157C320}" dt="2023-07-25T06:32:52.386" v="815" actId="1076"/>
        <pc:sldMkLst>
          <pc:docMk/>
          <pc:sldMk cId="2235712506" sldId="3691"/>
        </pc:sldMkLst>
        <pc:spChg chg="del">
          <ac:chgData name="Shimpi, Piyusha S" userId="0c019c91-0821-4529-9dc2-02375fba2f06" providerId="ADAL" clId="{325C667E-42ED-4135-9B97-F6C17157C320}" dt="2023-07-25T06:12:28.013" v="744" actId="478"/>
          <ac:spMkLst>
            <pc:docMk/>
            <pc:sldMk cId="2235712506" sldId="3691"/>
            <ac:spMk id="2" creationId="{0EE8D084-7B4C-0EC7-B721-82C1D4D10CE5}"/>
          </ac:spMkLst>
        </pc:spChg>
        <pc:spChg chg="del">
          <ac:chgData name="Shimpi, Piyusha S" userId="0c019c91-0821-4529-9dc2-02375fba2f06" providerId="ADAL" clId="{325C667E-42ED-4135-9B97-F6C17157C320}" dt="2023-07-25T06:12:41.441" v="749" actId="478"/>
          <ac:spMkLst>
            <pc:docMk/>
            <pc:sldMk cId="2235712506" sldId="3691"/>
            <ac:spMk id="3" creationId="{05E944EB-D432-0B94-5A6D-252227058EC6}"/>
          </ac:spMkLst>
        </pc:spChg>
        <pc:spChg chg="mod">
          <ac:chgData name="Shimpi, Piyusha S" userId="0c019c91-0821-4529-9dc2-02375fba2f06" providerId="ADAL" clId="{325C667E-42ED-4135-9B97-F6C17157C320}" dt="2023-07-25T06:14:57.817" v="772" actId="1076"/>
          <ac:spMkLst>
            <pc:docMk/>
            <pc:sldMk cId="2235712506" sldId="3691"/>
            <ac:spMk id="5" creationId="{27D11607-AE96-69D8-5E53-771F87A4E88F}"/>
          </ac:spMkLst>
        </pc:spChg>
        <pc:spChg chg="del">
          <ac:chgData name="Shimpi, Piyusha S" userId="0c019c91-0821-4529-9dc2-02375fba2f06" providerId="ADAL" clId="{325C667E-42ED-4135-9B97-F6C17157C320}" dt="2023-07-25T06:12:38.462" v="748" actId="478"/>
          <ac:spMkLst>
            <pc:docMk/>
            <pc:sldMk cId="2235712506" sldId="3691"/>
            <ac:spMk id="6" creationId="{7B2E15B5-A809-F2A5-A44D-37AF5246A484}"/>
          </ac:spMkLst>
        </pc:spChg>
        <pc:spChg chg="add mod">
          <ac:chgData name="Shimpi, Piyusha S" userId="0c019c91-0821-4529-9dc2-02375fba2f06" providerId="ADAL" clId="{325C667E-42ED-4135-9B97-F6C17157C320}" dt="2023-07-25T06:32:52.386" v="815" actId="1076"/>
          <ac:spMkLst>
            <pc:docMk/>
            <pc:sldMk cId="2235712506" sldId="3691"/>
            <ac:spMk id="8" creationId="{9A7DB1FA-1AB7-2DA1-9299-3E299591A415}"/>
          </ac:spMkLst>
        </pc:spChg>
        <pc:spChg chg="add mod">
          <ac:chgData name="Shimpi, Piyusha S" userId="0c019c91-0821-4529-9dc2-02375fba2f06" providerId="ADAL" clId="{325C667E-42ED-4135-9B97-F6C17157C320}" dt="2023-07-25T06:14:37.884" v="771" actId="1076"/>
          <ac:spMkLst>
            <pc:docMk/>
            <pc:sldMk cId="2235712506" sldId="3691"/>
            <ac:spMk id="9" creationId="{A764F3FB-BAC9-FE26-E7F4-C9B7EFFA50DF}"/>
          </ac:spMkLst>
        </pc:spChg>
        <pc:graphicFrameChg chg="add mod">
          <ac:chgData name="Shimpi, Piyusha S" userId="0c019c91-0821-4529-9dc2-02375fba2f06" providerId="ADAL" clId="{325C667E-42ED-4135-9B97-F6C17157C320}" dt="2023-07-25T06:32:34.732" v="813"/>
          <ac:graphicFrameMkLst>
            <pc:docMk/>
            <pc:sldMk cId="2235712506" sldId="3691"/>
            <ac:graphicFrameMk id="7" creationId="{3C2CE6C9-3EE8-FA22-A697-45DA03750BBC}"/>
          </ac:graphicFrameMkLst>
        </pc:graphicFrameChg>
        <pc:picChg chg="add del mod">
          <ac:chgData name="Shimpi, Piyusha S" userId="0c019c91-0821-4529-9dc2-02375fba2f06" providerId="ADAL" clId="{325C667E-42ED-4135-9B97-F6C17157C320}" dt="2023-07-25T06:20:51.995" v="796" actId="478"/>
          <ac:picMkLst>
            <pc:docMk/>
            <pc:sldMk cId="2235712506" sldId="3691"/>
            <ac:picMk id="11" creationId="{3A51B6F4-1E83-5F0B-7D57-91C9B3BE388D}"/>
          </ac:picMkLst>
        </pc:picChg>
        <pc:picChg chg="add del mod">
          <ac:chgData name="Shimpi, Piyusha S" userId="0c019c91-0821-4529-9dc2-02375fba2f06" providerId="ADAL" clId="{325C667E-42ED-4135-9B97-F6C17157C320}" dt="2023-07-25T06:22:50.608" v="801" actId="478"/>
          <ac:picMkLst>
            <pc:docMk/>
            <pc:sldMk cId="2235712506" sldId="3691"/>
            <ac:picMk id="13" creationId="{E479E641-E748-D8C6-F004-EC3ED748C157}"/>
          </ac:picMkLst>
        </pc:picChg>
        <pc:picChg chg="add del mod">
          <ac:chgData name="Shimpi, Piyusha S" userId="0c019c91-0821-4529-9dc2-02375fba2f06" providerId="ADAL" clId="{325C667E-42ED-4135-9B97-F6C17157C320}" dt="2023-07-25T06:18:36.684" v="789" actId="478"/>
          <ac:picMkLst>
            <pc:docMk/>
            <pc:sldMk cId="2235712506" sldId="3691"/>
            <ac:picMk id="2050" creationId="{BFC641C8-7D74-9010-DE4A-E069FBC786FD}"/>
          </ac:picMkLst>
        </pc:picChg>
      </pc:sldChg>
      <pc:sldChg chg="ord">
        <pc:chgData name="Shimpi, Piyusha S" userId="0c019c91-0821-4529-9dc2-02375fba2f06" providerId="ADAL" clId="{325C667E-42ED-4135-9B97-F6C17157C320}" dt="2023-07-25T10:01:54.960" v="951"/>
        <pc:sldMkLst>
          <pc:docMk/>
          <pc:sldMk cId="2421048366" sldId="3693"/>
        </pc:sldMkLst>
      </pc:sldChg>
    </pc:docChg>
  </pc:docChgLst>
  <pc:docChgLst>
    <pc:chgData name="Rath, Raghav" userId="S::raghav.rath@providence.org::71c1033f-1830-4801-9e6b-dc24ae31a985" providerId="AD" clId="Web-{5E9D7645-0D0F-4258-800B-FBB650DA9FA1}"/>
    <pc:docChg chg="addSld modSld modSection">
      <pc:chgData name="Rath, Raghav" userId="S::raghav.rath@providence.org::71c1033f-1830-4801-9e6b-dc24ae31a985" providerId="AD" clId="Web-{5E9D7645-0D0F-4258-800B-FBB650DA9FA1}" dt="2023-07-25T15:24:26.121" v="64" actId="1076"/>
      <pc:docMkLst>
        <pc:docMk/>
      </pc:docMkLst>
      <pc:sldChg chg="modSp add">
        <pc:chgData name="Rath, Raghav" userId="S::raghav.rath@providence.org::71c1033f-1830-4801-9e6b-dc24ae31a985" providerId="AD" clId="Web-{5E9D7645-0D0F-4258-800B-FBB650DA9FA1}" dt="2023-07-25T15:24:26.121" v="64" actId="1076"/>
        <pc:sldMkLst>
          <pc:docMk/>
          <pc:sldMk cId="7283056" sldId="3699"/>
        </pc:sldMkLst>
        <pc:spChg chg="mod">
          <ac:chgData name="Rath, Raghav" userId="S::raghav.rath@providence.org::71c1033f-1830-4801-9e6b-dc24ae31a985" providerId="AD" clId="Web-{5E9D7645-0D0F-4258-800B-FBB650DA9FA1}" dt="2023-07-25T15:24:18.339" v="63" actId="1076"/>
          <ac:spMkLst>
            <pc:docMk/>
            <pc:sldMk cId="7283056" sldId="3699"/>
            <ac:spMk id="11" creationId="{5F27AFF8-8FFC-6430-D186-D457251E21E7}"/>
          </ac:spMkLst>
        </pc:spChg>
        <pc:spChg chg="mod">
          <ac:chgData name="Rath, Raghav" userId="S::raghav.rath@providence.org::71c1033f-1830-4801-9e6b-dc24ae31a985" providerId="AD" clId="Web-{5E9D7645-0D0F-4258-800B-FBB650DA9FA1}" dt="2023-07-25T15:24:26.121" v="64" actId="1076"/>
          <ac:spMkLst>
            <pc:docMk/>
            <pc:sldMk cId="7283056" sldId="3699"/>
            <ac:spMk id="13" creationId="{F184CBD8-14D9-9499-4016-69F08CBD4DFA}"/>
          </ac:spMkLst>
        </pc:spChg>
        <pc:picChg chg="mod">
          <ac:chgData name="Rath, Raghav" userId="S::raghav.rath@providence.org::71c1033f-1830-4801-9e6b-dc24ae31a985" providerId="AD" clId="Web-{5E9D7645-0D0F-4258-800B-FBB650DA9FA1}" dt="2023-07-25T15:24:00.792" v="61" actId="14100"/>
          <ac:picMkLst>
            <pc:docMk/>
            <pc:sldMk cId="7283056" sldId="3699"/>
            <ac:picMk id="1026" creationId="{ADC73774-88E3-910B-FD10-1ACCC34480C2}"/>
          </ac:picMkLst>
        </pc:picChg>
        <pc:picChg chg="mod">
          <ac:chgData name="Rath, Raghav" userId="S::raghav.rath@providence.org::71c1033f-1830-4801-9e6b-dc24ae31a985" providerId="AD" clId="Web-{5E9D7645-0D0F-4258-800B-FBB650DA9FA1}" dt="2023-07-25T15:24:06.807" v="62" actId="14100"/>
          <ac:picMkLst>
            <pc:docMk/>
            <pc:sldMk cId="7283056" sldId="3699"/>
            <ac:picMk id="1028" creationId="{3792C0A6-5B10-FBCE-9AF0-CE644A0FE7F2}"/>
          </ac:picMkLst>
        </pc:picChg>
      </pc:sldChg>
    </pc:docChg>
  </pc:docChgLst>
  <pc:docChgLst>
    <pc:chgData name="Rath, Raghav" userId="S::raghav.rath@providence.org::71c1033f-1830-4801-9e6b-dc24ae31a985" providerId="AD" clId="Web-{CA0EB642-9986-4B1B-90D4-D9FF1CCD681E}"/>
    <pc:docChg chg="addSld delSld modSld addMainMaster modSection">
      <pc:chgData name="Rath, Raghav" userId="S::raghav.rath@providence.org::71c1033f-1830-4801-9e6b-dc24ae31a985" providerId="AD" clId="Web-{CA0EB642-9986-4B1B-90D4-D9FF1CCD681E}" dt="2023-07-25T13:41:05.971" v="87" actId="1076"/>
      <pc:docMkLst>
        <pc:docMk/>
      </pc:docMkLst>
      <pc:sldChg chg="addSp modSp">
        <pc:chgData name="Rath, Raghav" userId="S::raghav.rath@providence.org::71c1033f-1830-4801-9e6b-dc24ae31a985" providerId="AD" clId="Web-{CA0EB642-9986-4B1B-90D4-D9FF1CCD681E}" dt="2023-07-25T13:41:05.971" v="87" actId="1076"/>
        <pc:sldMkLst>
          <pc:docMk/>
          <pc:sldMk cId="3082899506" sldId="3626"/>
        </pc:sldMkLst>
        <pc:spChg chg="mod">
          <ac:chgData name="Rath, Raghav" userId="S::raghav.rath@providence.org::71c1033f-1830-4801-9e6b-dc24ae31a985" providerId="AD" clId="Web-{CA0EB642-9986-4B1B-90D4-D9FF1CCD681E}" dt="2023-07-25T13:41:05.971" v="87" actId="1076"/>
          <ac:spMkLst>
            <pc:docMk/>
            <pc:sldMk cId="3082899506" sldId="3626"/>
            <ac:spMk id="18" creationId="{057D7E52-67CF-0D87-972C-1A8A6C48F5BA}"/>
          </ac:spMkLst>
        </pc:spChg>
        <pc:spChg chg="mod">
          <ac:chgData name="Rath, Raghav" userId="S::raghav.rath@providence.org::71c1033f-1830-4801-9e6b-dc24ae31a985" providerId="AD" clId="Web-{CA0EB642-9986-4B1B-90D4-D9FF1CCD681E}" dt="2023-07-25T13:39:20.090" v="65" actId="20577"/>
          <ac:spMkLst>
            <pc:docMk/>
            <pc:sldMk cId="3082899506" sldId="3626"/>
            <ac:spMk id="71" creationId="{068BAFFA-5F9F-B354-E5E9-5738771D457A}"/>
          </ac:spMkLst>
        </pc:spChg>
        <pc:picChg chg="add mod">
          <ac:chgData name="Rath, Raghav" userId="S::raghav.rath@providence.org::71c1033f-1830-4801-9e6b-dc24ae31a985" providerId="AD" clId="Web-{CA0EB642-9986-4B1B-90D4-D9FF1CCD681E}" dt="2023-07-25T13:40:07.046" v="69" actId="1076"/>
          <ac:picMkLst>
            <pc:docMk/>
            <pc:sldMk cId="3082899506" sldId="3626"/>
            <ac:picMk id="3" creationId="{CB602FCE-615C-43E4-94E0-C64DD06335BD}"/>
          </ac:picMkLst>
        </pc:picChg>
      </pc:sldChg>
      <pc:sldChg chg="addSp delSp modSp del">
        <pc:chgData name="Rath, Raghav" userId="S::raghav.rath@providence.org::71c1033f-1830-4801-9e6b-dc24ae31a985" providerId="AD" clId="Web-{CA0EB642-9986-4B1B-90D4-D9FF1CCD681E}" dt="2023-07-25T13:35:22.280" v="6"/>
        <pc:sldMkLst>
          <pc:docMk/>
          <pc:sldMk cId="1116620279" sldId="3688"/>
        </pc:sldMkLst>
        <pc:picChg chg="add del mod">
          <ac:chgData name="Rath, Raghav" userId="S::raghav.rath@providence.org::71c1033f-1830-4801-9e6b-dc24ae31a985" providerId="AD" clId="Web-{CA0EB642-9986-4B1B-90D4-D9FF1CCD681E}" dt="2023-07-25T13:34:52.231" v="4"/>
          <ac:picMkLst>
            <pc:docMk/>
            <pc:sldMk cId="1116620279" sldId="3688"/>
            <ac:picMk id="7" creationId="{0B7C2FAD-EDDF-5480-E815-DF447B73EAD7}"/>
          </ac:picMkLst>
        </pc:picChg>
      </pc:sldChg>
      <pc:sldChg chg="modSp add">
        <pc:chgData name="Rath, Raghav" userId="S::raghav.rath@providence.org::71c1033f-1830-4801-9e6b-dc24ae31a985" providerId="AD" clId="Web-{CA0EB642-9986-4B1B-90D4-D9FF1CCD681E}" dt="2023-07-25T13:37:26.146" v="22" actId="1076"/>
        <pc:sldMkLst>
          <pc:docMk/>
          <pc:sldMk cId="1172344262" sldId="3695"/>
        </pc:sldMkLst>
        <pc:spChg chg="mod">
          <ac:chgData name="Rath, Raghav" userId="S::raghav.rath@providence.org::71c1033f-1830-4801-9e6b-dc24ae31a985" providerId="AD" clId="Web-{CA0EB642-9986-4B1B-90D4-D9FF1CCD681E}" dt="2023-07-25T13:37:26.146" v="22" actId="1076"/>
          <ac:spMkLst>
            <pc:docMk/>
            <pc:sldMk cId="1172344262" sldId="3695"/>
            <ac:spMk id="10" creationId="{3902BD54-BB33-8741-11C5-850BD68D3AB5}"/>
          </ac:spMkLst>
        </pc:spChg>
      </pc:sldChg>
      <pc:sldMasterChg chg="add addSldLayout">
        <pc:chgData name="Rath, Raghav" userId="S::raghav.rath@providence.org::71c1033f-1830-4801-9e6b-dc24ae31a985" providerId="AD" clId="Web-{CA0EB642-9986-4B1B-90D4-D9FF1CCD681E}" dt="2023-07-25T13:35:13.701" v="5"/>
        <pc:sldMasterMkLst>
          <pc:docMk/>
          <pc:sldMasterMk cId="2021956155" sldId="2147483749"/>
        </pc:sldMasterMkLst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158232739" sldId="2147483750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437871907" sldId="2147483751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937571502" sldId="2147483752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4217294927" sldId="2147483753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893492111" sldId="2147483754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142731610" sldId="2147483755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587775152" sldId="2147483756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4064490455" sldId="2147483757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230526404" sldId="2147483758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774593420" sldId="2147483759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281603159" sldId="2147483760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98371630" sldId="2147483761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485425140" sldId="2147483762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4279611595" sldId="2147483763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409663276" sldId="2147483764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757668233" sldId="2147483765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435092758" sldId="2147483766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458620937" sldId="2147483767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485830856" sldId="2147483768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1178147714" sldId="2147483769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1814354101" sldId="2147483770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61975725" sldId="2147483771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915507228" sldId="2147483772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808827592" sldId="2147483773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1793070454" sldId="2147483774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426991764" sldId="2147483775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428700923" sldId="2147483776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1921775095" sldId="2147483777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829930486" sldId="2147483778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825334924" sldId="2147483779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246366920" sldId="2147483780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621739863" sldId="2147483781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639093377" sldId="2147483782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3931099567" sldId="2147483783"/>
          </pc:sldLayoutMkLst>
        </pc:sldLayoutChg>
        <pc:sldLayoutChg chg="add">
          <pc:chgData name="Rath, Raghav" userId="S::raghav.rath@providence.org::71c1033f-1830-4801-9e6b-dc24ae31a985" providerId="AD" clId="Web-{CA0EB642-9986-4B1B-90D4-D9FF1CCD681E}" dt="2023-07-25T13:35:13.701" v="5"/>
          <pc:sldLayoutMkLst>
            <pc:docMk/>
            <pc:sldMasterMk cId="2021956155" sldId="2147483749"/>
            <pc:sldLayoutMk cId="2907176279" sldId="2147483784"/>
          </pc:sldLayoutMkLst>
        </pc:sldLayoutChg>
      </pc:sldMasterChg>
    </pc:docChg>
  </pc:docChgLst>
  <pc:docChgLst>
    <pc:chgData name="Rath, Raghav" userId="S::raghav.rath@providence.org::71c1033f-1830-4801-9e6b-dc24ae31a985" providerId="AD" clId="Web-{7B622931-3064-4B94-B86F-9E0EC2881A7B}"/>
    <pc:docChg chg="addSld delSld modSld modSection">
      <pc:chgData name="Rath, Raghav" userId="S::raghav.rath@providence.org::71c1033f-1830-4801-9e6b-dc24ae31a985" providerId="AD" clId="Web-{7B622931-3064-4B94-B86F-9E0EC2881A7B}" dt="2023-07-25T09:21:54.610" v="33" actId="1076"/>
      <pc:docMkLst>
        <pc:docMk/>
      </pc:docMkLst>
      <pc:sldChg chg="addSp delSp modSp">
        <pc:chgData name="Rath, Raghav" userId="S::raghav.rath@providence.org::71c1033f-1830-4801-9e6b-dc24ae31a985" providerId="AD" clId="Web-{7B622931-3064-4B94-B86F-9E0EC2881A7B}" dt="2023-07-25T06:46:00.312" v="20" actId="14100"/>
        <pc:sldMkLst>
          <pc:docMk/>
          <pc:sldMk cId="3096146122" sldId="3624"/>
        </pc:sldMkLst>
        <pc:picChg chg="add mod">
          <ac:chgData name="Rath, Raghav" userId="S::raghav.rath@providence.org::71c1033f-1830-4801-9e6b-dc24ae31a985" providerId="AD" clId="Web-{7B622931-3064-4B94-B86F-9E0EC2881A7B}" dt="2023-07-25T06:46:00.312" v="20" actId="14100"/>
          <ac:picMkLst>
            <pc:docMk/>
            <pc:sldMk cId="3096146122" sldId="3624"/>
            <ac:picMk id="2" creationId="{BE0ED366-EE71-FB6A-9DEB-07C331B4DB40}"/>
          </ac:picMkLst>
        </pc:picChg>
        <pc:picChg chg="del">
          <ac:chgData name="Rath, Raghav" userId="S::raghav.rath@providence.org::71c1033f-1830-4801-9e6b-dc24ae31a985" providerId="AD" clId="Web-{7B622931-3064-4B94-B86F-9E0EC2881A7B}" dt="2023-07-25T06:44:36.434" v="13"/>
          <ac:picMkLst>
            <pc:docMk/>
            <pc:sldMk cId="3096146122" sldId="3624"/>
            <ac:picMk id="12" creationId="{4E5A18BD-E7C2-D127-5DFD-6B5EEBC348F8}"/>
          </ac:picMkLst>
        </pc:picChg>
      </pc:sldChg>
      <pc:sldChg chg="modSp">
        <pc:chgData name="Rath, Raghav" userId="S::raghav.rath@providence.org::71c1033f-1830-4801-9e6b-dc24ae31a985" providerId="AD" clId="Web-{7B622931-3064-4B94-B86F-9E0EC2881A7B}" dt="2023-07-25T09:21:54.610" v="33" actId="1076"/>
        <pc:sldMkLst>
          <pc:docMk/>
          <pc:sldMk cId="3082899506" sldId="3626"/>
        </pc:sldMkLst>
        <pc:spChg chg="mod">
          <ac:chgData name="Rath, Raghav" userId="S::raghav.rath@providence.org::71c1033f-1830-4801-9e6b-dc24ae31a985" providerId="AD" clId="Web-{7B622931-3064-4B94-B86F-9E0EC2881A7B}" dt="2023-07-25T09:20:59.812" v="27" actId="1076"/>
          <ac:spMkLst>
            <pc:docMk/>
            <pc:sldMk cId="3082899506" sldId="3626"/>
            <ac:spMk id="36" creationId="{F64A350E-53FC-9590-E367-F702620203B1}"/>
          </ac:spMkLst>
        </pc:spChg>
        <pc:spChg chg="mod">
          <ac:chgData name="Rath, Raghav" userId="S::raghav.rath@providence.org::71c1033f-1830-4801-9e6b-dc24ae31a985" providerId="AD" clId="Web-{7B622931-3064-4B94-B86F-9E0EC2881A7B}" dt="2023-07-25T09:21:54.610" v="33" actId="1076"/>
          <ac:spMkLst>
            <pc:docMk/>
            <pc:sldMk cId="3082899506" sldId="3626"/>
            <ac:spMk id="38" creationId="{DDFA83C6-3292-3743-313B-03BF4EC71950}"/>
          </ac:spMkLst>
        </pc:spChg>
        <pc:spChg chg="mod">
          <ac:chgData name="Rath, Raghav" userId="S::raghav.rath@providence.org::71c1033f-1830-4801-9e6b-dc24ae31a985" providerId="AD" clId="Web-{7B622931-3064-4B94-B86F-9E0EC2881A7B}" dt="2023-07-25T09:21:07.906" v="28" actId="1076"/>
          <ac:spMkLst>
            <pc:docMk/>
            <pc:sldMk cId="3082899506" sldId="3626"/>
            <ac:spMk id="71" creationId="{068BAFFA-5F9F-B354-E5E9-5738771D457A}"/>
          </ac:spMkLst>
        </pc:spChg>
      </pc:sldChg>
      <pc:sldChg chg="del">
        <pc:chgData name="Rath, Raghav" userId="S::raghav.rath@providence.org::71c1033f-1830-4801-9e6b-dc24ae31a985" providerId="AD" clId="Web-{7B622931-3064-4B94-B86F-9E0EC2881A7B}" dt="2023-07-25T06:14:59.017" v="1"/>
        <pc:sldMkLst>
          <pc:docMk/>
          <pc:sldMk cId="2365724163" sldId="3685"/>
        </pc:sldMkLst>
      </pc:sldChg>
      <pc:sldChg chg="modSp">
        <pc:chgData name="Rath, Raghav" userId="S::raghav.rath@providence.org::71c1033f-1830-4801-9e6b-dc24ae31a985" providerId="AD" clId="Web-{7B622931-3064-4B94-B86F-9E0EC2881A7B}" dt="2023-07-25T06:47:52.925" v="24" actId="1076"/>
        <pc:sldMkLst>
          <pc:docMk/>
          <pc:sldMk cId="3225873929" sldId="3689"/>
        </pc:sldMkLst>
        <pc:spChg chg="mod">
          <ac:chgData name="Rath, Raghav" userId="S::raghav.rath@providence.org::71c1033f-1830-4801-9e6b-dc24ae31a985" providerId="AD" clId="Web-{7B622931-3064-4B94-B86F-9E0EC2881A7B}" dt="2023-07-25T06:47:45.127" v="22" actId="1076"/>
          <ac:spMkLst>
            <pc:docMk/>
            <pc:sldMk cId="3225873929" sldId="3689"/>
            <ac:spMk id="4" creationId="{D9869BDB-5EA3-D4C6-5881-37B2E1207DFD}"/>
          </ac:spMkLst>
        </pc:spChg>
        <pc:spChg chg="mod">
          <ac:chgData name="Rath, Raghav" userId="S::raghav.rath@providence.org::71c1033f-1830-4801-9e6b-dc24ae31a985" providerId="AD" clId="Web-{7B622931-3064-4B94-B86F-9E0EC2881A7B}" dt="2023-07-25T06:47:52.925" v="24" actId="1076"/>
          <ac:spMkLst>
            <pc:docMk/>
            <pc:sldMk cId="3225873929" sldId="3689"/>
            <ac:spMk id="7" creationId="{048EBA06-EB81-100E-9CF3-C17A6EDAA5D8}"/>
          </ac:spMkLst>
        </pc:spChg>
      </pc:sldChg>
      <pc:sldChg chg="modSp add del">
        <pc:chgData name="Rath, Raghav" userId="S::raghav.rath@providence.org::71c1033f-1830-4801-9e6b-dc24ae31a985" providerId="AD" clId="Web-{7B622931-3064-4B94-B86F-9E0EC2881A7B}" dt="2023-07-25T06:18:56.556" v="8"/>
        <pc:sldMkLst>
          <pc:docMk/>
          <pc:sldMk cId="3016465716" sldId="3690"/>
        </pc:sldMkLst>
        <pc:graphicFrameChg chg="modGraphic">
          <ac:chgData name="Rath, Raghav" userId="S::raghav.rath@providence.org::71c1033f-1830-4801-9e6b-dc24ae31a985" providerId="AD" clId="Web-{7B622931-3064-4B94-B86F-9E0EC2881A7B}" dt="2023-07-25T06:15:54.722" v="6" actId="20577"/>
          <ac:graphicFrameMkLst>
            <pc:docMk/>
            <pc:sldMk cId="3016465716" sldId="3690"/>
            <ac:graphicFrameMk id="3" creationId="{F2AC375C-0224-506B-95B0-B87548D7E617}"/>
          </ac:graphicFrameMkLst>
        </pc:graphicFrameChg>
      </pc:sldChg>
      <pc:sldChg chg="modSp">
        <pc:chgData name="Rath, Raghav" userId="S::raghav.rath@providence.org::71c1033f-1830-4801-9e6b-dc24ae31a985" providerId="AD" clId="Web-{7B622931-3064-4B94-B86F-9E0EC2881A7B}" dt="2023-07-25T06:20:05.527" v="10"/>
        <pc:sldMkLst>
          <pc:docMk/>
          <pc:sldMk cId="2235712506" sldId="3691"/>
        </pc:sldMkLst>
        <pc:graphicFrameChg chg="modGraphic">
          <ac:chgData name="Rath, Raghav" userId="S::raghav.rath@providence.org::71c1033f-1830-4801-9e6b-dc24ae31a985" providerId="AD" clId="Web-{7B622931-3064-4B94-B86F-9E0EC2881A7B}" dt="2023-07-25T06:20:05.527" v="10"/>
          <ac:graphicFrameMkLst>
            <pc:docMk/>
            <pc:sldMk cId="2235712506" sldId="3691"/>
            <ac:graphicFrameMk id="7" creationId="{3C2CE6C9-3EE8-FA22-A697-45DA03750BBC}"/>
          </ac:graphicFrameMkLst>
        </pc:graphicFrameChg>
      </pc:sldChg>
      <pc:sldChg chg="add del">
        <pc:chgData name="Rath, Raghav" userId="S::raghav.rath@providence.org::71c1033f-1830-4801-9e6b-dc24ae31a985" providerId="AD" clId="Web-{7B622931-3064-4B94-B86F-9E0EC2881A7B}" dt="2023-07-25T06:32:20.113" v="12"/>
        <pc:sldMkLst>
          <pc:docMk/>
          <pc:sldMk cId="3561700688" sldId="3692"/>
        </pc:sldMkLst>
      </pc:sldChg>
      <pc:sldChg chg="add">
        <pc:chgData name="Rath, Raghav" userId="S::raghav.rath@providence.org::71c1033f-1830-4801-9e6b-dc24ae31a985" providerId="AD" clId="Web-{7B622931-3064-4B94-B86F-9E0EC2881A7B}" dt="2023-07-25T06:32:10.863" v="11"/>
        <pc:sldMkLst>
          <pc:docMk/>
          <pc:sldMk cId="2421048366" sldId="3693"/>
        </pc:sldMkLst>
      </pc:sldChg>
    </pc:docChg>
  </pc:docChgLst>
  <pc:docChgLst>
    <pc:chgData name="Rath, Raghav" userId="S::raghav.rath@providence.org::71c1033f-1830-4801-9e6b-dc24ae31a985" providerId="AD" clId="Web-{962311E9-36B9-42E7-940D-43D3EB9E5EC0}"/>
    <pc:docChg chg="addSld modSld sldOrd modSection">
      <pc:chgData name="Rath, Raghav" userId="S::raghav.rath@providence.org::71c1033f-1830-4801-9e6b-dc24ae31a985" providerId="AD" clId="Web-{962311E9-36B9-42E7-940D-43D3EB9E5EC0}" dt="2023-07-25T15:57:28.845" v="5" actId="20577"/>
      <pc:docMkLst>
        <pc:docMk/>
      </pc:docMkLst>
      <pc:sldChg chg="modSp">
        <pc:chgData name="Rath, Raghav" userId="S::raghav.rath@providence.org::71c1033f-1830-4801-9e6b-dc24ae31a985" providerId="AD" clId="Web-{962311E9-36B9-42E7-940D-43D3EB9E5EC0}" dt="2023-07-25T15:52:43.382" v="1" actId="1076"/>
        <pc:sldMkLst>
          <pc:docMk/>
          <pc:sldMk cId="3082899506" sldId="3626"/>
        </pc:sldMkLst>
        <pc:picChg chg="mod">
          <ac:chgData name="Rath, Raghav" userId="S::raghav.rath@providence.org::71c1033f-1830-4801-9e6b-dc24ae31a985" providerId="AD" clId="Web-{962311E9-36B9-42E7-940D-43D3EB9E5EC0}" dt="2023-07-25T15:52:43.382" v="1" actId="1076"/>
          <ac:picMkLst>
            <pc:docMk/>
            <pc:sldMk cId="3082899506" sldId="3626"/>
            <ac:picMk id="3" creationId="{CB602FCE-615C-43E4-94E0-C64DD06335BD}"/>
          </ac:picMkLst>
        </pc:picChg>
      </pc:sldChg>
      <pc:sldChg chg="ord">
        <pc:chgData name="Rath, Raghav" userId="S::raghav.rath@providence.org::71c1033f-1830-4801-9e6b-dc24ae31a985" providerId="AD" clId="Web-{962311E9-36B9-42E7-940D-43D3EB9E5EC0}" dt="2023-07-25T15:52:03.193" v="0"/>
        <pc:sldMkLst>
          <pc:docMk/>
          <pc:sldMk cId="2235712506" sldId="3691"/>
        </pc:sldMkLst>
      </pc:sldChg>
      <pc:sldChg chg="modSp">
        <pc:chgData name="Rath, Raghav" userId="S::raghav.rath@providence.org::71c1033f-1830-4801-9e6b-dc24ae31a985" providerId="AD" clId="Web-{962311E9-36B9-42E7-940D-43D3EB9E5EC0}" dt="2023-07-25T15:55:16.309" v="3" actId="14100"/>
        <pc:sldMkLst>
          <pc:docMk/>
          <pc:sldMk cId="7283056" sldId="3699"/>
        </pc:sldMkLst>
        <pc:picChg chg="mod">
          <ac:chgData name="Rath, Raghav" userId="S::raghav.rath@providence.org::71c1033f-1830-4801-9e6b-dc24ae31a985" providerId="AD" clId="Web-{962311E9-36B9-42E7-940D-43D3EB9E5EC0}" dt="2023-07-25T15:55:16.309" v="3" actId="14100"/>
          <ac:picMkLst>
            <pc:docMk/>
            <pc:sldMk cId="7283056" sldId="3699"/>
            <ac:picMk id="1028" creationId="{3792C0A6-5B10-FBCE-9AF0-CE644A0FE7F2}"/>
          </ac:picMkLst>
        </pc:picChg>
      </pc:sldChg>
      <pc:sldChg chg="modSp new">
        <pc:chgData name="Rath, Raghav" userId="S::raghav.rath@providence.org::71c1033f-1830-4801-9e6b-dc24ae31a985" providerId="AD" clId="Web-{962311E9-36B9-42E7-940D-43D3EB9E5EC0}" dt="2023-07-25T15:57:28.845" v="5" actId="20577"/>
        <pc:sldMkLst>
          <pc:docMk/>
          <pc:sldMk cId="2191462559" sldId="3701"/>
        </pc:sldMkLst>
        <pc:spChg chg="mod">
          <ac:chgData name="Rath, Raghav" userId="S::raghav.rath@providence.org::71c1033f-1830-4801-9e6b-dc24ae31a985" providerId="AD" clId="Web-{962311E9-36B9-42E7-940D-43D3EB9E5EC0}" dt="2023-07-25T15:57:28.845" v="5" actId="20577"/>
          <ac:spMkLst>
            <pc:docMk/>
            <pc:sldMk cId="2191462559" sldId="3701"/>
            <ac:spMk id="127" creationId="{B7F58F59-8043-F0DD-C2F4-C0DCD80874C1}"/>
          </ac:spMkLst>
        </pc:spChg>
        <pc:spChg chg="mod">
          <ac:chgData name="Rath, Raghav" userId="S::raghav.rath@providence.org::71c1033f-1830-4801-9e6b-dc24ae31a985" providerId="AD" clId="Web-{962311E9-36B9-42E7-940D-43D3EB9E5EC0}" dt="2023-07-25T15:57:22.079" v="4" actId="20577"/>
          <ac:spMkLst>
            <pc:docMk/>
            <pc:sldMk cId="2191462559" sldId="3701"/>
            <ac:spMk id="137" creationId="{9F2B7D42-9804-3D3E-2AD9-25176ABC216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72689458950666"/>
          <c:y val="7.6924894046558334E-2"/>
          <c:w val="0.69093243772187318"/>
          <c:h val="0.8307652330975716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25E6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06C-4118-94D4-254ABD6E309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06C-4118-94D4-254ABD6E309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0B4-4139-9796-C9699143EDD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0B4-4139-9796-C9699143EDDE}"/>
              </c:ext>
            </c:extLst>
          </c:dPt>
          <c:dLbls>
            <c:dLbl>
              <c:idx val="0"/>
              <c:layout>
                <c:manualLayout>
                  <c:x val="1.9760899480093713E-2"/>
                  <c:y val="-0.1877928593010429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99.88768%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5104286526115067"/>
                      <c:h val="0.33868855374801904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506C-4118-94D4-254ABD6E30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99887680000000001</c:v>
                </c:pt>
                <c:pt idx="1">
                  <c:v>1.123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6C-4118-94D4-254ABD6E30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rgbClr val="025E6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926-4C4F-8229-08C338B30022}"/>
              </c:ext>
            </c:extLst>
          </c:dPt>
          <c:dPt>
            <c:idx val="1"/>
            <c:bubble3D val="0"/>
            <c:spPr>
              <a:solidFill>
                <a:srgbClr val="70EFF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926-4C4F-8229-08C338B30022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840-4D04-AC62-790156376A02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840-4D04-AC62-790156376A02}"/>
              </c:ext>
            </c:extLst>
          </c:dPt>
          <c:dLbls>
            <c:dLbl>
              <c:idx val="0"/>
              <c:layout>
                <c:manualLayout>
                  <c:x val="-5.7579340351329687E-2"/>
                  <c:y val="-0.21123551988233555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97.40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665767797582674"/>
                      <c:h val="0.23198186558506476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B926-4C4F-8229-08C338B3002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926-4C4F-8229-08C338B300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97404000000000002</c:v>
                </c:pt>
                <c:pt idx="1">
                  <c:v>2.5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26-4C4F-8229-08C338B30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1114A9-337A-4B71-AFEA-CAFE69956103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B203AEB1-0BA1-4CF1-B3B3-2419EB55D7A7}">
      <dgm:prSet phldrT="[Text]"/>
      <dgm:spPr/>
      <dgm:t>
        <a:bodyPr/>
        <a:lstStyle/>
        <a:p>
          <a:r>
            <a:rPr lang="en-US"/>
            <a:t>1</a:t>
          </a:r>
        </a:p>
      </dgm:t>
    </dgm:pt>
    <dgm:pt modelId="{D320F50B-EC7C-4E71-AB0A-145171135D2C}" type="parTrans" cxnId="{345D79EE-811A-4408-8629-EEC704746133}">
      <dgm:prSet/>
      <dgm:spPr/>
      <dgm:t>
        <a:bodyPr/>
        <a:lstStyle/>
        <a:p>
          <a:endParaRPr lang="en-US"/>
        </a:p>
      </dgm:t>
    </dgm:pt>
    <dgm:pt modelId="{350D2ECE-EE04-4F1E-B9D6-542FC8DB4B34}" type="sibTrans" cxnId="{345D79EE-811A-4408-8629-EEC704746133}">
      <dgm:prSet/>
      <dgm:spPr/>
      <dgm:t>
        <a:bodyPr/>
        <a:lstStyle/>
        <a:p>
          <a:endParaRPr lang="en-US"/>
        </a:p>
      </dgm:t>
    </dgm:pt>
    <dgm:pt modelId="{F1F3CAE5-E1F3-40B5-BCD2-AA2B98617FA1}">
      <dgm:prSet phldrT="[Text]"/>
      <dgm:spPr/>
      <dgm:t>
        <a:bodyPr/>
        <a:lstStyle/>
        <a:p>
          <a:r>
            <a:rPr lang="en-US"/>
            <a:t>7</a:t>
          </a:r>
        </a:p>
      </dgm:t>
    </dgm:pt>
    <dgm:pt modelId="{A144C79A-F219-478A-8C3A-EC8CACFC93AE}" type="parTrans" cxnId="{5D9B78E6-5843-4B1F-8FB1-C6F62FBDCA8F}">
      <dgm:prSet/>
      <dgm:spPr/>
      <dgm:t>
        <a:bodyPr/>
        <a:lstStyle/>
        <a:p>
          <a:endParaRPr lang="en-US"/>
        </a:p>
      </dgm:t>
    </dgm:pt>
    <dgm:pt modelId="{8D42EEAF-FD75-419B-99D7-48BFCAEA2F4C}" type="sibTrans" cxnId="{5D9B78E6-5843-4B1F-8FB1-C6F62FBDCA8F}">
      <dgm:prSet/>
      <dgm:spPr/>
      <dgm:t>
        <a:bodyPr/>
        <a:lstStyle/>
        <a:p>
          <a:endParaRPr lang="en-US"/>
        </a:p>
      </dgm:t>
    </dgm:pt>
    <dgm:pt modelId="{535F5A87-A592-4B04-ADA1-73C61BD6A15B}">
      <dgm:prSet phldrT="[Text]"/>
      <dgm:spPr/>
      <dgm:t>
        <a:bodyPr/>
        <a:lstStyle/>
        <a:p>
          <a:r>
            <a:rPr lang="en-US"/>
            <a:t>6</a:t>
          </a:r>
        </a:p>
      </dgm:t>
    </dgm:pt>
    <dgm:pt modelId="{B7C58C9E-4714-4D30-8888-993B32BBB29C}" type="parTrans" cxnId="{9F3E8543-C85A-4172-A9CF-65CC7E72B16E}">
      <dgm:prSet/>
      <dgm:spPr/>
      <dgm:t>
        <a:bodyPr/>
        <a:lstStyle/>
        <a:p>
          <a:endParaRPr lang="en-US"/>
        </a:p>
      </dgm:t>
    </dgm:pt>
    <dgm:pt modelId="{9D45868B-273E-4247-BB50-80E005FFDB85}" type="sibTrans" cxnId="{9F3E8543-C85A-4172-A9CF-65CC7E72B16E}">
      <dgm:prSet/>
      <dgm:spPr/>
      <dgm:t>
        <a:bodyPr/>
        <a:lstStyle/>
        <a:p>
          <a:endParaRPr lang="en-US"/>
        </a:p>
      </dgm:t>
    </dgm:pt>
    <dgm:pt modelId="{00AE201B-F2E2-44E1-BD54-112DBE13A59C}">
      <dgm:prSet phldrT="[Text]"/>
      <dgm:spPr/>
      <dgm:t>
        <a:bodyPr/>
        <a:lstStyle/>
        <a:p>
          <a:r>
            <a:rPr lang="en-US"/>
            <a:t>3</a:t>
          </a:r>
        </a:p>
      </dgm:t>
    </dgm:pt>
    <dgm:pt modelId="{450C2C05-4F44-4F01-B6E0-7E1C86CC3AF9}" type="parTrans" cxnId="{CCC39C95-4CD8-4368-AB31-B6BF5596BACB}">
      <dgm:prSet/>
      <dgm:spPr/>
      <dgm:t>
        <a:bodyPr/>
        <a:lstStyle/>
        <a:p>
          <a:endParaRPr lang="en-US"/>
        </a:p>
      </dgm:t>
    </dgm:pt>
    <dgm:pt modelId="{838F281B-0353-468F-AC15-02E93CD62047}" type="sibTrans" cxnId="{CCC39C95-4CD8-4368-AB31-B6BF5596BACB}">
      <dgm:prSet/>
      <dgm:spPr/>
      <dgm:t>
        <a:bodyPr/>
        <a:lstStyle/>
        <a:p>
          <a:endParaRPr lang="en-US"/>
        </a:p>
      </dgm:t>
    </dgm:pt>
    <dgm:pt modelId="{B1C208B4-CDFE-44E2-9EC9-11FA26AF3B0A}">
      <dgm:prSet phldrT="[Text]"/>
      <dgm:spPr/>
      <dgm:t>
        <a:bodyPr/>
        <a:lstStyle/>
        <a:p>
          <a:r>
            <a:rPr lang="en-US"/>
            <a:t>4</a:t>
          </a:r>
        </a:p>
      </dgm:t>
    </dgm:pt>
    <dgm:pt modelId="{73566AFD-9F2F-429E-91A1-7668B0916BDB}" type="parTrans" cxnId="{22EEB1F2-E51A-4F9B-9211-E79D91B55AC4}">
      <dgm:prSet/>
      <dgm:spPr/>
      <dgm:t>
        <a:bodyPr/>
        <a:lstStyle/>
        <a:p>
          <a:endParaRPr lang="en-US"/>
        </a:p>
      </dgm:t>
    </dgm:pt>
    <dgm:pt modelId="{F19EA89B-7C03-4CA5-A261-9BD4C627131E}" type="sibTrans" cxnId="{22EEB1F2-E51A-4F9B-9211-E79D91B55AC4}">
      <dgm:prSet/>
      <dgm:spPr/>
      <dgm:t>
        <a:bodyPr/>
        <a:lstStyle/>
        <a:p>
          <a:endParaRPr lang="en-US"/>
        </a:p>
      </dgm:t>
    </dgm:pt>
    <dgm:pt modelId="{3D3CBA93-C83B-4274-BCD0-09CC8435C3AC}">
      <dgm:prSet phldrT="[Text]"/>
      <dgm:spPr/>
      <dgm:t>
        <a:bodyPr/>
        <a:lstStyle/>
        <a:p>
          <a:r>
            <a:rPr lang="en-US"/>
            <a:t>5</a:t>
          </a:r>
        </a:p>
      </dgm:t>
    </dgm:pt>
    <dgm:pt modelId="{09D0E223-D86D-4EF5-9288-052561FC845B}" type="parTrans" cxnId="{93A4DFA2-6B5F-4160-90C9-429E634FA434}">
      <dgm:prSet/>
      <dgm:spPr/>
      <dgm:t>
        <a:bodyPr/>
        <a:lstStyle/>
        <a:p>
          <a:endParaRPr lang="en-US"/>
        </a:p>
      </dgm:t>
    </dgm:pt>
    <dgm:pt modelId="{B0F06EC8-C6AA-43BE-87B1-28A4794534D0}" type="sibTrans" cxnId="{93A4DFA2-6B5F-4160-90C9-429E634FA434}">
      <dgm:prSet/>
      <dgm:spPr/>
      <dgm:t>
        <a:bodyPr/>
        <a:lstStyle/>
        <a:p>
          <a:endParaRPr lang="en-US"/>
        </a:p>
      </dgm:t>
    </dgm:pt>
    <dgm:pt modelId="{79E36D95-4E23-4D45-B81E-168E16EC7C30}">
      <dgm:prSet phldrT="[Text]"/>
      <dgm:spPr/>
      <dgm:t>
        <a:bodyPr/>
        <a:lstStyle/>
        <a:p>
          <a:r>
            <a:rPr lang="en-US"/>
            <a:t>2</a:t>
          </a:r>
        </a:p>
      </dgm:t>
    </dgm:pt>
    <dgm:pt modelId="{7C028F86-A5CA-4E38-BA4C-A324695EEF48}" type="parTrans" cxnId="{A8A7D13E-57DA-41D1-A522-791B8AE7C1CD}">
      <dgm:prSet/>
      <dgm:spPr/>
      <dgm:t>
        <a:bodyPr/>
        <a:lstStyle/>
        <a:p>
          <a:endParaRPr lang="en-US"/>
        </a:p>
      </dgm:t>
    </dgm:pt>
    <dgm:pt modelId="{B240D4D2-C98D-416F-BF6A-CB75ACF86E93}" type="sibTrans" cxnId="{A8A7D13E-57DA-41D1-A522-791B8AE7C1CD}">
      <dgm:prSet/>
      <dgm:spPr/>
      <dgm:t>
        <a:bodyPr/>
        <a:lstStyle/>
        <a:p>
          <a:endParaRPr lang="en-US"/>
        </a:p>
      </dgm:t>
    </dgm:pt>
    <dgm:pt modelId="{3B658FA0-A9B2-43EC-9CC1-67584747936E}" type="pres">
      <dgm:prSet presAssocID="{4C1114A9-337A-4B71-AFEA-CAFE69956103}" presName="Name0" presStyleCnt="0">
        <dgm:presLayoutVars>
          <dgm:dir/>
          <dgm:resizeHandles val="exact"/>
        </dgm:presLayoutVars>
      </dgm:prSet>
      <dgm:spPr/>
    </dgm:pt>
    <dgm:pt modelId="{ADAE8B2C-8F3F-4B6F-ADEF-CA0A4A979ABC}" type="pres">
      <dgm:prSet presAssocID="{B203AEB1-0BA1-4CF1-B3B3-2419EB55D7A7}" presName="parTxOnly" presStyleLbl="node1" presStyleIdx="0" presStyleCnt="7" custScaleX="309792" custLinFactNeighborX="-3741" custLinFactNeighborY="3068">
        <dgm:presLayoutVars>
          <dgm:bulletEnabled val="1"/>
        </dgm:presLayoutVars>
      </dgm:prSet>
      <dgm:spPr/>
    </dgm:pt>
    <dgm:pt modelId="{8A434BEB-40A3-492F-B0D7-188FDB7B04DF}" type="pres">
      <dgm:prSet presAssocID="{350D2ECE-EE04-4F1E-B9D6-542FC8DB4B34}" presName="parSpace" presStyleCnt="0"/>
      <dgm:spPr/>
    </dgm:pt>
    <dgm:pt modelId="{7DDA1834-D3E3-4362-9FB1-B51451D768F4}" type="pres">
      <dgm:prSet presAssocID="{79E36D95-4E23-4D45-B81E-168E16EC7C30}" presName="parTxOnly" presStyleLbl="node1" presStyleIdx="1" presStyleCnt="7" custScaleX="375643" custLinFactNeighborX="-41496" custLinFactNeighborY="3158">
        <dgm:presLayoutVars>
          <dgm:bulletEnabled val="1"/>
        </dgm:presLayoutVars>
      </dgm:prSet>
      <dgm:spPr/>
    </dgm:pt>
    <dgm:pt modelId="{597B3D97-DAC1-4017-8B08-1AAC79B4E4E8}" type="pres">
      <dgm:prSet presAssocID="{B240D4D2-C98D-416F-BF6A-CB75ACF86E93}" presName="parSpace" presStyleCnt="0"/>
      <dgm:spPr/>
    </dgm:pt>
    <dgm:pt modelId="{062E8A7D-ADD0-4476-BF32-FCF327890DE8}" type="pres">
      <dgm:prSet presAssocID="{00AE201B-F2E2-44E1-BD54-112DBE13A59C}" presName="parTxOnly" presStyleLbl="node1" presStyleIdx="2" presStyleCnt="7" custScaleX="253597" custLinFactNeighborX="-22728" custLinFactNeighborY="772">
        <dgm:presLayoutVars>
          <dgm:bulletEnabled val="1"/>
        </dgm:presLayoutVars>
      </dgm:prSet>
      <dgm:spPr/>
    </dgm:pt>
    <dgm:pt modelId="{281A7C2E-8E56-45A3-8569-9CA8D4A0B9E2}" type="pres">
      <dgm:prSet presAssocID="{838F281B-0353-468F-AC15-02E93CD62047}" presName="parSpace" presStyleCnt="0"/>
      <dgm:spPr/>
    </dgm:pt>
    <dgm:pt modelId="{5E7770D9-6854-4BDB-B905-91AB8340D5E1}" type="pres">
      <dgm:prSet presAssocID="{B1C208B4-CDFE-44E2-9EC9-11FA26AF3B0A}" presName="parTxOnly" presStyleLbl="node1" presStyleIdx="3" presStyleCnt="7" custScaleX="242085" custLinFactNeighborX="-19199" custLinFactNeighborY="3200">
        <dgm:presLayoutVars>
          <dgm:bulletEnabled val="1"/>
        </dgm:presLayoutVars>
      </dgm:prSet>
      <dgm:spPr/>
    </dgm:pt>
    <dgm:pt modelId="{840C4130-846B-4A43-ACB5-653B355D8E92}" type="pres">
      <dgm:prSet presAssocID="{F19EA89B-7C03-4CA5-A261-9BD4C627131E}" presName="parSpace" presStyleCnt="0"/>
      <dgm:spPr/>
    </dgm:pt>
    <dgm:pt modelId="{C18C6EC3-99FB-40B1-B1A1-AD877A56B722}" type="pres">
      <dgm:prSet presAssocID="{3D3CBA93-C83B-4274-BCD0-09CC8435C3AC}" presName="parTxOnly" presStyleLbl="node1" presStyleIdx="4" presStyleCnt="7">
        <dgm:presLayoutVars>
          <dgm:bulletEnabled val="1"/>
        </dgm:presLayoutVars>
      </dgm:prSet>
      <dgm:spPr/>
    </dgm:pt>
    <dgm:pt modelId="{C2F143D1-194A-44B1-88B0-513573EC6B14}" type="pres">
      <dgm:prSet presAssocID="{B0F06EC8-C6AA-43BE-87B1-28A4794534D0}" presName="parSpace" presStyleCnt="0"/>
      <dgm:spPr/>
    </dgm:pt>
    <dgm:pt modelId="{0EA6936C-BFAD-4F5C-9D9E-1735FDE69EC4}" type="pres">
      <dgm:prSet presAssocID="{535F5A87-A592-4B04-ADA1-73C61BD6A15B}" presName="parTxOnly" presStyleLbl="node1" presStyleIdx="5" presStyleCnt="7" custLinFactNeighborX="10102" custLinFactNeighborY="1">
        <dgm:presLayoutVars>
          <dgm:bulletEnabled val="1"/>
        </dgm:presLayoutVars>
      </dgm:prSet>
      <dgm:spPr/>
    </dgm:pt>
    <dgm:pt modelId="{56E1421A-0786-4FF2-B154-EB9AA94FC77A}" type="pres">
      <dgm:prSet presAssocID="{9D45868B-273E-4247-BB50-80E005FFDB85}" presName="parSpace" presStyleCnt="0"/>
      <dgm:spPr/>
    </dgm:pt>
    <dgm:pt modelId="{05803A5A-2281-446F-B6C4-FE0BD62DBAAD}" type="pres">
      <dgm:prSet presAssocID="{F1F3CAE5-E1F3-40B5-BCD2-AA2B98617FA1}" presName="parTxOnly" presStyleLbl="node1" presStyleIdx="6" presStyleCnt="7" custScaleX="314916">
        <dgm:presLayoutVars>
          <dgm:bulletEnabled val="1"/>
        </dgm:presLayoutVars>
      </dgm:prSet>
      <dgm:spPr/>
    </dgm:pt>
  </dgm:ptLst>
  <dgm:cxnLst>
    <dgm:cxn modelId="{F2631719-72B2-4CFA-BC3E-F434E461214C}" type="presOf" srcId="{F1F3CAE5-E1F3-40B5-BCD2-AA2B98617FA1}" destId="{05803A5A-2281-446F-B6C4-FE0BD62DBAAD}" srcOrd="0" destOrd="0" presId="urn:microsoft.com/office/officeart/2005/8/layout/hChevron3"/>
    <dgm:cxn modelId="{D31E8F30-77A6-48D4-817F-47DFE73B6253}" type="presOf" srcId="{79E36D95-4E23-4D45-B81E-168E16EC7C30}" destId="{7DDA1834-D3E3-4362-9FB1-B51451D768F4}" srcOrd="0" destOrd="0" presId="urn:microsoft.com/office/officeart/2005/8/layout/hChevron3"/>
    <dgm:cxn modelId="{A8A7D13E-57DA-41D1-A522-791B8AE7C1CD}" srcId="{4C1114A9-337A-4B71-AFEA-CAFE69956103}" destId="{79E36D95-4E23-4D45-B81E-168E16EC7C30}" srcOrd="1" destOrd="0" parTransId="{7C028F86-A5CA-4E38-BA4C-A324695EEF48}" sibTransId="{B240D4D2-C98D-416F-BF6A-CB75ACF86E93}"/>
    <dgm:cxn modelId="{87C99261-8A60-4277-9216-FAF78DEF6032}" type="presOf" srcId="{535F5A87-A592-4B04-ADA1-73C61BD6A15B}" destId="{0EA6936C-BFAD-4F5C-9D9E-1735FDE69EC4}" srcOrd="0" destOrd="0" presId="urn:microsoft.com/office/officeart/2005/8/layout/hChevron3"/>
    <dgm:cxn modelId="{9F3E8543-C85A-4172-A9CF-65CC7E72B16E}" srcId="{4C1114A9-337A-4B71-AFEA-CAFE69956103}" destId="{535F5A87-A592-4B04-ADA1-73C61BD6A15B}" srcOrd="5" destOrd="0" parTransId="{B7C58C9E-4714-4D30-8888-993B32BBB29C}" sibTransId="{9D45868B-273E-4247-BB50-80E005FFDB85}"/>
    <dgm:cxn modelId="{2ECC704C-7855-4651-A573-AAE24EBCC823}" type="presOf" srcId="{B1C208B4-CDFE-44E2-9EC9-11FA26AF3B0A}" destId="{5E7770D9-6854-4BDB-B905-91AB8340D5E1}" srcOrd="0" destOrd="0" presId="urn:microsoft.com/office/officeart/2005/8/layout/hChevron3"/>
    <dgm:cxn modelId="{8DD2D685-BEAD-4130-9CA7-5CA284E7ECD9}" type="presOf" srcId="{4C1114A9-337A-4B71-AFEA-CAFE69956103}" destId="{3B658FA0-A9B2-43EC-9CC1-67584747936E}" srcOrd="0" destOrd="0" presId="urn:microsoft.com/office/officeart/2005/8/layout/hChevron3"/>
    <dgm:cxn modelId="{02293687-E0BD-462E-89CC-7A0C2AEE5997}" type="presOf" srcId="{B203AEB1-0BA1-4CF1-B3B3-2419EB55D7A7}" destId="{ADAE8B2C-8F3F-4B6F-ADEF-CA0A4A979ABC}" srcOrd="0" destOrd="0" presId="urn:microsoft.com/office/officeart/2005/8/layout/hChevron3"/>
    <dgm:cxn modelId="{CCC39C95-4CD8-4368-AB31-B6BF5596BACB}" srcId="{4C1114A9-337A-4B71-AFEA-CAFE69956103}" destId="{00AE201B-F2E2-44E1-BD54-112DBE13A59C}" srcOrd="2" destOrd="0" parTransId="{450C2C05-4F44-4F01-B6E0-7E1C86CC3AF9}" sibTransId="{838F281B-0353-468F-AC15-02E93CD62047}"/>
    <dgm:cxn modelId="{93A4DFA2-6B5F-4160-90C9-429E634FA434}" srcId="{4C1114A9-337A-4B71-AFEA-CAFE69956103}" destId="{3D3CBA93-C83B-4274-BCD0-09CC8435C3AC}" srcOrd="4" destOrd="0" parTransId="{09D0E223-D86D-4EF5-9288-052561FC845B}" sibTransId="{B0F06EC8-C6AA-43BE-87B1-28A4794534D0}"/>
    <dgm:cxn modelId="{CE6493AB-D254-4B74-9339-6CA8779F5FFE}" type="presOf" srcId="{3D3CBA93-C83B-4274-BCD0-09CC8435C3AC}" destId="{C18C6EC3-99FB-40B1-B1A1-AD877A56B722}" srcOrd="0" destOrd="0" presId="urn:microsoft.com/office/officeart/2005/8/layout/hChevron3"/>
    <dgm:cxn modelId="{FEFC87B4-1173-418C-9C4E-B9D4FF7334C3}" type="presOf" srcId="{00AE201B-F2E2-44E1-BD54-112DBE13A59C}" destId="{062E8A7D-ADD0-4476-BF32-FCF327890DE8}" srcOrd="0" destOrd="0" presId="urn:microsoft.com/office/officeart/2005/8/layout/hChevron3"/>
    <dgm:cxn modelId="{5D9B78E6-5843-4B1F-8FB1-C6F62FBDCA8F}" srcId="{4C1114A9-337A-4B71-AFEA-CAFE69956103}" destId="{F1F3CAE5-E1F3-40B5-BCD2-AA2B98617FA1}" srcOrd="6" destOrd="0" parTransId="{A144C79A-F219-478A-8C3A-EC8CACFC93AE}" sibTransId="{8D42EEAF-FD75-419B-99D7-48BFCAEA2F4C}"/>
    <dgm:cxn modelId="{345D79EE-811A-4408-8629-EEC704746133}" srcId="{4C1114A9-337A-4B71-AFEA-CAFE69956103}" destId="{B203AEB1-0BA1-4CF1-B3B3-2419EB55D7A7}" srcOrd="0" destOrd="0" parTransId="{D320F50B-EC7C-4E71-AB0A-145171135D2C}" sibTransId="{350D2ECE-EE04-4F1E-B9D6-542FC8DB4B34}"/>
    <dgm:cxn modelId="{22EEB1F2-E51A-4F9B-9211-E79D91B55AC4}" srcId="{4C1114A9-337A-4B71-AFEA-CAFE69956103}" destId="{B1C208B4-CDFE-44E2-9EC9-11FA26AF3B0A}" srcOrd="3" destOrd="0" parTransId="{73566AFD-9F2F-429E-91A1-7668B0916BDB}" sibTransId="{F19EA89B-7C03-4CA5-A261-9BD4C627131E}"/>
    <dgm:cxn modelId="{92A1F557-B03B-4A82-A91B-BFBC9C073CA9}" type="presParOf" srcId="{3B658FA0-A9B2-43EC-9CC1-67584747936E}" destId="{ADAE8B2C-8F3F-4B6F-ADEF-CA0A4A979ABC}" srcOrd="0" destOrd="0" presId="urn:microsoft.com/office/officeart/2005/8/layout/hChevron3"/>
    <dgm:cxn modelId="{92511A57-8291-4671-AED2-D2B868D35A07}" type="presParOf" srcId="{3B658FA0-A9B2-43EC-9CC1-67584747936E}" destId="{8A434BEB-40A3-492F-B0D7-188FDB7B04DF}" srcOrd="1" destOrd="0" presId="urn:microsoft.com/office/officeart/2005/8/layout/hChevron3"/>
    <dgm:cxn modelId="{523BF6B9-DD14-4D14-991D-A5DD1912CA0E}" type="presParOf" srcId="{3B658FA0-A9B2-43EC-9CC1-67584747936E}" destId="{7DDA1834-D3E3-4362-9FB1-B51451D768F4}" srcOrd="2" destOrd="0" presId="urn:microsoft.com/office/officeart/2005/8/layout/hChevron3"/>
    <dgm:cxn modelId="{94BE375B-03A8-4840-97E2-495B8164B6C8}" type="presParOf" srcId="{3B658FA0-A9B2-43EC-9CC1-67584747936E}" destId="{597B3D97-DAC1-4017-8B08-1AAC79B4E4E8}" srcOrd="3" destOrd="0" presId="urn:microsoft.com/office/officeart/2005/8/layout/hChevron3"/>
    <dgm:cxn modelId="{A12CBD54-0285-4BA2-99F2-85F9ACADE21A}" type="presParOf" srcId="{3B658FA0-A9B2-43EC-9CC1-67584747936E}" destId="{062E8A7D-ADD0-4476-BF32-FCF327890DE8}" srcOrd="4" destOrd="0" presId="urn:microsoft.com/office/officeart/2005/8/layout/hChevron3"/>
    <dgm:cxn modelId="{B7B6AB23-95FE-4383-B084-A9DD875128AA}" type="presParOf" srcId="{3B658FA0-A9B2-43EC-9CC1-67584747936E}" destId="{281A7C2E-8E56-45A3-8569-9CA8D4A0B9E2}" srcOrd="5" destOrd="0" presId="urn:microsoft.com/office/officeart/2005/8/layout/hChevron3"/>
    <dgm:cxn modelId="{A0B449B0-9D6F-4189-92CD-C2C3AAEAA07A}" type="presParOf" srcId="{3B658FA0-A9B2-43EC-9CC1-67584747936E}" destId="{5E7770D9-6854-4BDB-B905-91AB8340D5E1}" srcOrd="6" destOrd="0" presId="urn:microsoft.com/office/officeart/2005/8/layout/hChevron3"/>
    <dgm:cxn modelId="{2CDA7EDE-5ADD-446A-859C-343BC7F23646}" type="presParOf" srcId="{3B658FA0-A9B2-43EC-9CC1-67584747936E}" destId="{840C4130-846B-4A43-ACB5-653B355D8E92}" srcOrd="7" destOrd="0" presId="urn:microsoft.com/office/officeart/2005/8/layout/hChevron3"/>
    <dgm:cxn modelId="{B837ED7E-976D-48A9-90B1-E9540BE0AB5C}" type="presParOf" srcId="{3B658FA0-A9B2-43EC-9CC1-67584747936E}" destId="{C18C6EC3-99FB-40B1-B1A1-AD877A56B722}" srcOrd="8" destOrd="0" presId="urn:microsoft.com/office/officeart/2005/8/layout/hChevron3"/>
    <dgm:cxn modelId="{5AC9F9FC-CFC8-4314-AB90-0D2C76F38A55}" type="presParOf" srcId="{3B658FA0-A9B2-43EC-9CC1-67584747936E}" destId="{C2F143D1-194A-44B1-88B0-513573EC6B14}" srcOrd="9" destOrd="0" presId="urn:microsoft.com/office/officeart/2005/8/layout/hChevron3"/>
    <dgm:cxn modelId="{CBE155BD-BB4B-4EA6-A432-976BC759CE3A}" type="presParOf" srcId="{3B658FA0-A9B2-43EC-9CC1-67584747936E}" destId="{0EA6936C-BFAD-4F5C-9D9E-1735FDE69EC4}" srcOrd="10" destOrd="0" presId="urn:microsoft.com/office/officeart/2005/8/layout/hChevron3"/>
    <dgm:cxn modelId="{85386E20-D853-4553-90AD-3402DF23FEDA}" type="presParOf" srcId="{3B658FA0-A9B2-43EC-9CC1-67584747936E}" destId="{56E1421A-0786-4FF2-B154-EB9AA94FC77A}" srcOrd="11" destOrd="0" presId="urn:microsoft.com/office/officeart/2005/8/layout/hChevron3"/>
    <dgm:cxn modelId="{8BD55687-C0A7-4125-970B-F2883693F5F8}" type="presParOf" srcId="{3B658FA0-A9B2-43EC-9CC1-67584747936E}" destId="{05803A5A-2281-446F-B6C4-FE0BD62DBAAD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EC97D6C-8FB2-43F5-A151-800B2AF9EFAF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CF2D9B9-75D8-4B7D-89B0-483E5CDBEFC2}">
      <dgm:prSet phldrT="[Text]" custT="1"/>
      <dgm:spPr/>
      <dgm:t>
        <a:bodyPr/>
        <a:lstStyle/>
        <a:p>
          <a:pPr algn="ctr"/>
          <a:r>
            <a:rPr lang="en-US" sz="1400" b="1"/>
            <a:t>  Jan 1, 2017 – Jun 30, 2018</a:t>
          </a:r>
        </a:p>
      </dgm:t>
    </dgm:pt>
    <dgm:pt modelId="{95FB9974-57CA-40B3-A8B6-69905AA3AFBA}" type="parTrans" cxnId="{F45217F1-4126-4139-BE61-3E64CC60A676}">
      <dgm:prSet/>
      <dgm:spPr/>
      <dgm:t>
        <a:bodyPr/>
        <a:lstStyle/>
        <a:p>
          <a:endParaRPr lang="en-US"/>
        </a:p>
      </dgm:t>
    </dgm:pt>
    <dgm:pt modelId="{9071C6F1-574C-4D43-BC0C-F33FE07C5CF0}" type="sibTrans" cxnId="{F45217F1-4126-4139-BE61-3E64CC60A676}">
      <dgm:prSet/>
      <dgm:spPr/>
      <dgm:t>
        <a:bodyPr/>
        <a:lstStyle/>
        <a:p>
          <a:endParaRPr lang="en-US"/>
        </a:p>
      </dgm:t>
    </dgm:pt>
    <dgm:pt modelId="{4D9B51DA-5596-4B9E-858E-D58EF8446AB9}">
      <dgm:prSet phldrT="[Text]" custT="1"/>
      <dgm:spPr/>
      <dgm:t>
        <a:bodyPr/>
        <a:lstStyle/>
        <a:p>
          <a:r>
            <a:rPr lang="en-US" sz="1400" b="1"/>
            <a:t>July 1 – Dec 31,2018</a:t>
          </a:r>
        </a:p>
      </dgm:t>
    </dgm:pt>
    <dgm:pt modelId="{9AF5B2EA-0B89-45B1-B2EB-69378E637B31}" type="parTrans" cxnId="{B90BDBDF-22AF-4CD5-A7CB-A1AF96DDC7F6}">
      <dgm:prSet/>
      <dgm:spPr/>
      <dgm:t>
        <a:bodyPr/>
        <a:lstStyle/>
        <a:p>
          <a:endParaRPr lang="en-US"/>
        </a:p>
      </dgm:t>
    </dgm:pt>
    <dgm:pt modelId="{3D94B47F-7D6C-46A9-AF26-A06E56BB455E}" type="sibTrans" cxnId="{B90BDBDF-22AF-4CD5-A7CB-A1AF96DDC7F6}">
      <dgm:prSet/>
      <dgm:spPr/>
      <dgm:t>
        <a:bodyPr/>
        <a:lstStyle/>
        <a:p>
          <a:endParaRPr lang="en-US"/>
        </a:p>
      </dgm:t>
    </dgm:pt>
    <dgm:pt modelId="{144A0C9C-9FD5-46B0-A7F2-7EC98918E154}" type="pres">
      <dgm:prSet presAssocID="{9EC97D6C-8FB2-43F5-A151-800B2AF9EFAF}" presName="Name0" presStyleCnt="0">
        <dgm:presLayoutVars>
          <dgm:dir/>
          <dgm:resizeHandles val="exact"/>
        </dgm:presLayoutVars>
      </dgm:prSet>
      <dgm:spPr/>
    </dgm:pt>
    <dgm:pt modelId="{EABEE596-1F04-413A-A99F-281E1612A53D}" type="pres">
      <dgm:prSet presAssocID="{ACF2D9B9-75D8-4B7D-89B0-483E5CDBEFC2}" presName="parTxOnly" presStyleLbl="node1" presStyleIdx="0" presStyleCnt="2" custScaleX="109354" custLinFactNeighborX="-172" custLinFactNeighborY="8478">
        <dgm:presLayoutVars>
          <dgm:bulletEnabled val="1"/>
        </dgm:presLayoutVars>
      </dgm:prSet>
      <dgm:spPr/>
    </dgm:pt>
    <dgm:pt modelId="{BEAFB099-E0E1-4F05-A13B-94B6548FDCB9}" type="pres">
      <dgm:prSet presAssocID="{9071C6F1-574C-4D43-BC0C-F33FE07C5CF0}" presName="parSpace" presStyleCnt="0"/>
      <dgm:spPr/>
    </dgm:pt>
    <dgm:pt modelId="{0B8938D0-CB6D-4C18-9CF1-6FDFF7B7516C}" type="pres">
      <dgm:prSet presAssocID="{4D9B51DA-5596-4B9E-858E-D58EF8446AB9}" presName="parTxOnly" presStyleLbl="node1" presStyleIdx="1" presStyleCnt="2" custScaleX="62506" custLinFactNeighborX="158">
        <dgm:presLayoutVars>
          <dgm:bulletEnabled val="1"/>
        </dgm:presLayoutVars>
      </dgm:prSet>
      <dgm:spPr/>
    </dgm:pt>
  </dgm:ptLst>
  <dgm:cxnLst>
    <dgm:cxn modelId="{FEA8DF39-672D-42D1-BB5A-4EE1248D1C9E}" type="presOf" srcId="{9EC97D6C-8FB2-43F5-A151-800B2AF9EFAF}" destId="{144A0C9C-9FD5-46B0-A7F2-7EC98918E154}" srcOrd="0" destOrd="0" presId="urn:microsoft.com/office/officeart/2005/8/layout/hChevron3"/>
    <dgm:cxn modelId="{62616871-DDC5-4907-9008-77692620F41F}" type="presOf" srcId="{ACF2D9B9-75D8-4B7D-89B0-483E5CDBEFC2}" destId="{EABEE596-1F04-413A-A99F-281E1612A53D}" srcOrd="0" destOrd="0" presId="urn:microsoft.com/office/officeart/2005/8/layout/hChevron3"/>
    <dgm:cxn modelId="{B90BDBDF-22AF-4CD5-A7CB-A1AF96DDC7F6}" srcId="{9EC97D6C-8FB2-43F5-A151-800B2AF9EFAF}" destId="{4D9B51DA-5596-4B9E-858E-D58EF8446AB9}" srcOrd="1" destOrd="0" parTransId="{9AF5B2EA-0B89-45B1-B2EB-69378E637B31}" sibTransId="{3D94B47F-7D6C-46A9-AF26-A06E56BB455E}"/>
    <dgm:cxn modelId="{3910A9E5-38A2-424C-82A4-06C0E0204F0A}" type="presOf" srcId="{4D9B51DA-5596-4B9E-858E-D58EF8446AB9}" destId="{0B8938D0-CB6D-4C18-9CF1-6FDFF7B7516C}" srcOrd="0" destOrd="0" presId="urn:microsoft.com/office/officeart/2005/8/layout/hChevron3"/>
    <dgm:cxn modelId="{F45217F1-4126-4139-BE61-3E64CC60A676}" srcId="{9EC97D6C-8FB2-43F5-A151-800B2AF9EFAF}" destId="{ACF2D9B9-75D8-4B7D-89B0-483E5CDBEFC2}" srcOrd="0" destOrd="0" parTransId="{95FB9974-57CA-40B3-A8B6-69905AA3AFBA}" sibTransId="{9071C6F1-574C-4D43-BC0C-F33FE07C5CF0}"/>
    <dgm:cxn modelId="{4736DB62-03A8-45C1-8546-EEA291D941C0}" type="presParOf" srcId="{144A0C9C-9FD5-46B0-A7F2-7EC98918E154}" destId="{EABEE596-1F04-413A-A99F-281E1612A53D}" srcOrd="0" destOrd="0" presId="urn:microsoft.com/office/officeart/2005/8/layout/hChevron3"/>
    <dgm:cxn modelId="{01CF8088-7233-4792-AB91-4A87B0E528D2}" type="presParOf" srcId="{144A0C9C-9FD5-46B0-A7F2-7EC98918E154}" destId="{BEAFB099-E0E1-4F05-A13B-94B6548FDCB9}" srcOrd="1" destOrd="0" presId="urn:microsoft.com/office/officeart/2005/8/layout/hChevron3"/>
    <dgm:cxn modelId="{E8B1B68C-7401-47FE-AADA-5FC30D4448C0}" type="presParOf" srcId="{144A0C9C-9FD5-46B0-A7F2-7EC98918E154}" destId="{0B8938D0-CB6D-4C18-9CF1-6FDFF7B7516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1F5A64-509D-4017-BA00-142E4CAE0866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DBC2E90-31F7-4F51-8483-23BC071B6A18}">
      <dgm:prSet phldrT="[Text]" custT="1"/>
      <dgm:spPr>
        <a:solidFill>
          <a:schemeClr val="accent2"/>
        </a:solidFill>
      </dgm:spPr>
      <dgm:t>
        <a:bodyPr/>
        <a:lstStyle/>
        <a:p>
          <a:pPr rtl="0"/>
          <a:r>
            <a:rPr lang="en-US" sz="1500" b="1">
              <a:latin typeface="Arial" panose="020B0604020202020204"/>
            </a:rPr>
            <a:t>TRAINING</a:t>
          </a:r>
          <a:r>
            <a:rPr lang="en-US" sz="1400" b="1">
              <a:latin typeface="Arial" panose="020B0604020202020204"/>
            </a:rPr>
            <a:t> </a:t>
          </a:r>
          <a:r>
            <a:rPr lang="en-US" sz="1500" b="1">
              <a:latin typeface="Arial" panose="020B0604020202020204"/>
            </a:rPr>
            <a:t>DATA</a:t>
          </a:r>
          <a:endParaRPr lang="en-US" sz="1500" b="1"/>
        </a:p>
      </dgm:t>
    </dgm:pt>
    <dgm:pt modelId="{85930CE6-CE2B-47D3-A41E-3B15F56A40B4}" type="parTrans" cxnId="{4D8F62D9-59DB-4D04-B89C-3CBBDDDB2FF3}">
      <dgm:prSet/>
      <dgm:spPr/>
      <dgm:t>
        <a:bodyPr/>
        <a:lstStyle/>
        <a:p>
          <a:endParaRPr lang="en-US" sz="1400"/>
        </a:p>
      </dgm:t>
    </dgm:pt>
    <dgm:pt modelId="{383127BE-C6EA-4B70-A9C2-5F7D1C2D35DA}" type="sibTrans" cxnId="{4D8F62D9-59DB-4D04-B89C-3CBBDDDB2FF3}">
      <dgm:prSet/>
      <dgm:spPr/>
      <dgm:t>
        <a:bodyPr/>
        <a:lstStyle/>
        <a:p>
          <a:endParaRPr lang="en-US" sz="1400"/>
        </a:p>
      </dgm:t>
    </dgm:pt>
    <dgm:pt modelId="{C7397B9B-D86D-482B-94D0-65C2753C8837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b="1"/>
            <a:t>TESTING DATA</a:t>
          </a:r>
        </a:p>
      </dgm:t>
    </dgm:pt>
    <dgm:pt modelId="{4F01DAB4-2C31-4FF9-95D6-866528A016DC}" type="parTrans" cxnId="{C560E82E-EEE1-4D42-937C-D49B31B535BF}">
      <dgm:prSet/>
      <dgm:spPr/>
      <dgm:t>
        <a:bodyPr/>
        <a:lstStyle/>
        <a:p>
          <a:endParaRPr lang="en-US"/>
        </a:p>
      </dgm:t>
    </dgm:pt>
    <dgm:pt modelId="{430DC58E-7CDD-4B10-ACAE-F095C0A3BF62}" type="sibTrans" cxnId="{C560E82E-EEE1-4D42-937C-D49B31B535BF}">
      <dgm:prSet/>
      <dgm:spPr/>
      <dgm:t>
        <a:bodyPr/>
        <a:lstStyle/>
        <a:p>
          <a:endParaRPr lang="en-US"/>
        </a:p>
      </dgm:t>
    </dgm:pt>
    <dgm:pt modelId="{C3AB0A8A-C9E3-4AB0-8F4C-C37DFA59BBA7}" type="pres">
      <dgm:prSet presAssocID="{7B1F5A64-509D-4017-BA00-142E4CAE0866}" presName="Name0" presStyleCnt="0">
        <dgm:presLayoutVars>
          <dgm:dir/>
          <dgm:resizeHandles val="exact"/>
        </dgm:presLayoutVars>
      </dgm:prSet>
      <dgm:spPr/>
    </dgm:pt>
    <dgm:pt modelId="{594FFCA2-27B2-4D9D-A4FB-AFF99763E077}" type="pres">
      <dgm:prSet presAssocID="{9DBC2E90-31F7-4F51-8483-23BC071B6A18}" presName="parTxOnly" presStyleLbl="node1" presStyleIdx="0" presStyleCnt="2" custScaleX="186668" custScaleY="90494" custLinFactNeighborX="-97" custLinFactNeighborY="6387">
        <dgm:presLayoutVars>
          <dgm:bulletEnabled val="1"/>
        </dgm:presLayoutVars>
      </dgm:prSet>
      <dgm:spPr/>
    </dgm:pt>
    <dgm:pt modelId="{CC2F0076-9767-4C04-A024-4F3858D29154}" type="pres">
      <dgm:prSet presAssocID="{383127BE-C6EA-4B70-A9C2-5F7D1C2D35DA}" presName="parSpace" presStyleCnt="0"/>
      <dgm:spPr/>
    </dgm:pt>
    <dgm:pt modelId="{BE4C7DEB-5031-4CF2-B573-ED717BDE823F}" type="pres">
      <dgm:prSet presAssocID="{C7397B9B-D86D-482B-94D0-65C2753C8837}" presName="parTxOnly" presStyleLbl="node1" presStyleIdx="1" presStyleCnt="2" custScaleX="114612" custScaleY="90494" custLinFactNeighborX="85385" custLinFactNeighborY="3339">
        <dgm:presLayoutVars>
          <dgm:bulletEnabled val="1"/>
        </dgm:presLayoutVars>
      </dgm:prSet>
      <dgm:spPr/>
    </dgm:pt>
  </dgm:ptLst>
  <dgm:cxnLst>
    <dgm:cxn modelId="{C560E82E-EEE1-4D42-937C-D49B31B535BF}" srcId="{7B1F5A64-509D-4017-BA00-142E4CAE0866}" destId="{C7397B9B-D86D-482B-94D0-65C2753C8837}" srcOrd="1" destOrd="0" parTransId="{4F01DAB4-2C31-4FF9-95D6-866528A016DC}" sibTransId="{430DC58E-7CDD-4B10-ACAE-F095C0A3BF62}"/>
    <dgm:cxn modelId="{9013A06E-DF9C-47C7-BF05-19A56196C0D2}" type="presOf" srcId="{C7397B9B-D86D-482B-94D0-65C2753C8837}" destId="{BE4C7DEB-5031-4CF2-B573-ED717BDE823F}" srcOrd="0" destOrd="0" presId="urn:microsoft.com/office/officeart/2005/8/layout/hChevron3"/>
    <dgm:cxn modelId="{76427490-FE8E-4452-BF3E-F9383F6CC4D9}" type="presOf" srcId="{7B1F5A64-509D-4017-BA00-142E4CAE0866}" destId="{C3AB0A8A-C9E3-4AB0-8F4C-C37DFA59BBA7}" srcOrd="0" destOrd="0" presId="urn:microsoft.com/office/officeart/2005/8/layout/hChevron3"/>
    <dgm:cxn modelId="{E5D4F5A8-AD64-483C-BABF-55A82FBB685F}" type="presOf" srcId="{9DBC2E90-31F7-4F51-8483-23BC071B6A18}" destId="{594FFCA2-27B2-4D9D-A4FB-AFF99763E077}" srcOrd="0" destOrd="0" presId="urn:microsoft.com/office/officeart/2005/8/layout/hChevron3"/>
    <dgm:cxn modelId="{4D8F62D9-59DB-4D04-B89C-3CBBDDDB2FF3}" srcId="{7B1F5A64-509D-4017-BA00-142E4CAE0866}" destId="{9DBC2E90-31F7-4F51-8483-23BC071B6A18}" srcOrd="0" destOrd="0" parTransId="{85930CE6-CE2B-47D3-A41E-3B15F56A40B4}" sibTransId="{383127BE-C6EA-4B70-A9C2-5F7D1C2D35DA}"/>
    <dgm:cxn modelId="{B24AEAB3-F195-42D2-8B9A-BCD6E0D822BC}" type="presParOf" srcId="{C3AB0A8A-C9E3-4AB0-8F4C-C37DFA59BBA7}" destId="{594FFCA2-27B2-4D9D-A4FB-AFF99763E077}" srcOrd="0" destOrd="0" presId="urn:microsoft.com/office/officeart/2005/8/layout/hChevron3"/>
    <dgm:cxn modelId="{F3693D5F-B739-43B8-8706-81EBECAF5097}" type="presParOf" srcId="{C3AB0A8A-C9E3-4AB0-8F4C-C37DFA59BBA7}" destId="{CC2F0076-9767-4C04-A024-4F3858D29154}" srcOrd="1" destOrd="0" presId="urn:microsoft.com/office/officeart/2005/8/layout/hChevron3"/>
    <dgm:cxn modelId="{8F0F518A-AE50-4354-B14E-782B644E070F}" type="presParOf" srcId="{C3AB0A8A-C9E3-4AB0-8F4C-C37DFA59BBA7}" destId="{BE4C7DEB-5031-4CF2-B573-ED717BDE823F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038038-D96B-4005-8F7A-CA11640CF27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4D847D-4C73-461E-B03D-2089147A50FA}">
      <dgm:prSet phldrT="[Text]" custT="1"/>
      <dgm:spPr/>
      <dgm:t>
        <a:bodyPr/>
        <a:lstStyle/>
        <a:p>
          <a:r>
            <a:rPr lang="en-US" sz="2000" b="1">
              <a:latin typeface="Arial" panose="020B0604020202020204" pitchFamily="34" charset="0"/>
              <a:cs typeface="Arial" panose="020B0604020202020204" pitchFamily="34" charset="0"/>
            </a:rPr>
            <a:t>Technical</a:t>
          </a:r>
        </a:p>
      </dgm:t>
    </dgm:pt>
    <dgm:pt modelId="{D07C7556-4BB1-4B6E-B0FD-55357E268904}" type="parTrans" cxnId="{4019E378-04EE-407A-A528-E70E016BD9D8}">
      <dgm:prSet/>
      <dgm:spPr/>
      <dgm:t>
        <a:bodyPr/>
        <a:lstStyle/>
        <a:p>
          <a:endParaRPr lang="en-US"/>
        </a:p>
      </dgm:t>
    </dgm:pt>
    <dgm:pt modelId="{35446D0B-A7D2-42EB-9BD1-761A78C3DD17}" type="sibTrans" cxnId="{4019E378-04EE-407A-A528-E70E016BD9D8}">
      <dgm:prSet/>
      <dgm:spPr/>
      <dgm:t>
        <a:bodyPr/>
        <a:lstStyle/>
        <a:p>
          <a:endParaRPr lang="en-US"/>
        </a:p>
      </dgm:t>
    </dgm:pt>
    <dgm:pt modelId="{37619EF4-BE6D-4E62-A2B5-EDEC51A7AFB8}">
      <dgm:prSet phldrT="[Text]" custT="1"/>
      <dgm:spPr/>
      <dgm:t>
        <a:bodyPr/>
        <a:lstStyle/>
        <a:p>
          <a:pPr>
            <a:spcBef>
              <a:spcPts val="300"/>
            </a:spcBef>
            <a:spcAft>
              <a:spcPts val="700"/>
            </a:spcAft>
            <a:buFont typeface="Arial" panose="020B0604020202020204" pitchFamily="34" charset="0"/>
            <a:buChar char="•"/>
          </a:pPr>
          <a:endParaRPr lang="en-US" sz="1600"/>
        </a:p>
      </dgm:t>
    </dgm:pt>
    <dgm:pt modelId="{5EBD6EB0-D0D7-4F9C-B74E-80AE097333EB}" type="parTrans" cxnId="{26C83F73-6C10-4696-BA69-8E7C61145B22}">
      <dgm:prSet/>
      <dgm:spPr/>
      <dgm:t>
        <a:bodyPr/>
        <a:lstStyle/>
        <a:p>
          <a:endParaRPr lang="en-US"/>
        </a:p>
      </dgm:t>
    </dgm:pt>
    <dgm:pt modelId="{0C7D4C8F-11F1-4CC1-BC34-413257A27220}" type="sibTrans" cxnId="{26C83F73-6C10-4696-BA69-8E7C61145B22}">
      <dgm:prSet/>
      <dgm:spPr/>
      <dgm:t>
        <a:bodyPr/>
        <a:lstStyle/>
        <a:p>
          <a:endParaRPr lang="en-US"/>
        </a:p>
      </dgm:t>
    </dgm:pt>
    <dgm:pt modelId="{08383FAE-D0CA-4874-8FAB-1D4459287252}">
      <dgm:prSet phldrT="[Text]" custT="1"/>
      <dgm:spPr/>
      <dgm:t>
        <a:bodyPr/>
        <a:lstStyle/>
        <a:p>
          <a:r>
            <a:rPr lang="en-US" sz="2000" b="1">
              <a:latin typeface="Arial" panose="020B0604020202020204" pitchFamily="34" charset="0"/>
              <a:cs typeface="Arial" panose="020B0604020202020204" pitchFamily="34" charset="0"/>
            </a:rPr>
            <a:t>Soft Skills</a:t>
          </a:r>
        </a:p>
      </dgm:t>
    </dgm:pt>
    <dgm:pt modelId="{04F21B0B-2442-49BF-8DF3-3DABAFC3BB31}" type="parTrans" cxnId="{A50DABD6-5BF7-430E-9B9B-3FD8B4F9D254}">
      <dgm:prSet/>
      <dgm:spPr/>
      <dgm:t>
        <a:bodyPr/>
        <a:lstStyle/>
        <a:p>
          <a:endParaRPr lang="en-US"/>
        </a:p>
      </dgm:t>
    </dgm:pt>
    <dgm:pt modelId="{9388B3FA-E636-4638-A6B1-7167F4DE1319}" type="sibTrans" cxnId="{A50DABD6-5BF7-430E-9B9B-3FD8B4F9D254}">
      <dgm:prSet/>
      <dgm:spPr/>
      <dgm:t>
        <a:bodyPr/>
        <a:lstStyle/>
        <a:p>
          <a:endParaRPr lang="en-US"/>
        </a:p>
      </dgm:t>
    </dgm:pt>
    <dgm:pt modelId="{336BC2A7-06F4-4E79-9C49-1802D3F4B67A}">
      <dgm:prSet phldrT="[Text]" custT="1"/>
      <dgm:spPr/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700"/>
            </a:spcAft>
            <a:buFont typeface="Arial" panose="020B0604020202020204" pitchFamily="34" charset="0"/>
            <a:buNone/>
          </a:pPr>
          <a:endParaRPr lang="en-US" sz="16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97BE9845-689C-4996-92AA-595E12A8A5AA}" type="parTrans" cxnId="{D621C13E-5C58-4568-9EB3-8BAABC8D3AA0}">
      <dgm:prSet/>
      <dgm:spPr/>
      <dgm:t>
        <a:bodyPr/>
        <a:lstStyle/>
        <a:p>
          <a:endParaRPr lang="en-US"/>
        </a:p>
      </dgm:t>
    </dgm:pt>
    <dgm:pt modelId="{A7BF8345-B955-4E74-B43B-43B5E63C5909}" type="sibTrans" cxnId="{D621C13E-5C58-4568-9EB3-8BAABC8D3AA0}">
      <dgm:prSet/>
      <dgm:spPr/>
      <dgm:t>
        <a:bodyPr/>
        <a:lstStyle/>
        <a:p>
          <a:endParaRPr lang="en-US"/>
        </a:p>
      </dgm:t>
    </dgm:pt>
    <dgm:pt modelId="{CF3BE0A8-63A6-4885-8788-2D3E8ED9A7A6}" type="pres">
      <dgm:prSet presAssocID="{31038038-D96B-4005-8F7A-CA11640CF272}" presName="Name0" presStyleCnt="0">
        <dgm:presLayoutVars>
          <dgm:dir/>
          <dgm:animLvl val="lvl"/>
          <dgm:resizeHandles val="exact"/>
        </dgm:presLayoutVars>
      </dgm:prSet>
      <dgm:spPr/>
    </dgm:pt>
    <dgm:pt modelId="{45A42BD7-E8E9-4E14-BDEF-B6F987141850}" type="pres">
      <dgm:prSet presAssocID="{7E4D847D-4C73-461E-B03D-2089147A50FA}" presName="linNode" presStyleCnt="0"/>
      <dgm:spPr/>
    </dgm:pt>
    <dgm:pt modelId="{83FD4A95-BF1E-438F-AF4B-30F30CB06668}" type="pres">
      <dgm:prSet presAssocID="{7E4D847D-4C73-461E-B03D-2089147A50FA}" presName="parentText" presStyleLbl="node1" presStyleIdx="0" presStyleCnt="2" custScaleX="70706" custScaleY="49949">
        <dgm:presLayoutVars>
          <dgm:chMax val="1"/>
          <dgm:bulletEnabled val="1"/>
        </dgm:presLayoutVars>
      </dgm:prSet>
      <dgm:spPr/>
    </dgm:pt>
    <dgm:pt modelId="{DCF4402F-66B3-4A30-9D6E-1E43C9D10749}" type="pres">
      <dgm:prSet presAssocID="{7E4D847D-4C73-461E-B03D-2089147A50FA}" presName="descendantText" presStyleLbl="alignAccFollowNode1" presStyleIdx="0" presStyleCnt="2" custLinFactNeighborX="-56" custLinFactNeighborY="-327">
        <dgm:presLayoutVars>
          <dgm:bulletEnabled val="1"/>
        </dgm:presLayoutVars>
      </dgm:prSet>
      <dgm:spPr/>
    </dgm:pt>
    <dgm:pt modelId="{345090DF-7FD2-47A7-A3B4-C600B7499C33}" type="pres">
      <dgm:prSet presAssocID="{35446D0B-A7D2-42EB-9BD1-761A78C3DD17}" presName="sp" presStyleCnt="0"/>
      <dgm:spPr/>
    </dgm:pt>
    <dgm:pt modelId="{0B9E82BD-5B08-4FA0-B470-CDEA8F94B6A9}" type="pres">
      <dgm:prSet presAssocID="{08383FAE-D0CA-4874-8FAB-1D4459287252}" presName="linNode" presStyleCnt="0"/>
      <dgm:spPr/>
    </dgm:pt>
    <dgm:pt modelId="{75E6320C-4006-429E-B778-935BA8BC2E88}" type="pres">
      <dgm:prSet presAssocID="{08383FAE-D0CA-4874-8FAB-1D4459287252}" presName="parentText" presStyleLbl="node1" presStyleIdx="1" presStyleCnt="2" custScaleX="70706" custScaleY="49949">
        <dgm:presLayoutVars>
          <dgm:chMax val="1"/>
          <dgm:bulletEnabled val="1"/>
        </dgm:presLayoutVars>
      </dgm:prSet>
      <dgm:spPr/>
    </dgm:pt>
    <dgm:pt modelId="{88F6B686-6C60-4131-A941-1A5B15431A74}" type="pres">
      <dgm:prSet presAssocID="{08383FAE-D0CA-4874-8FAB-1D4459287252}" presName="descendantText" presStyleLbl="alignAccFollowNode1" presStyleIdx="1" presStyleCnt="2" custLinFactNeighborY="0">
        <dgm:presLayoutVars>
          <dgm:bulletEnabled val="1"/>
        </dgm:presLayoutVars>
      </dgm:prSet>
      <dgm:spPr/>
    </dgm:pt>
  </dgm:ptLst>
  <dgm:cxnLst>
    <dgm:cxn modelId="{D621C13E-5C58-4568-9EB3-8BAABC8D3AA0}" srcId="{08383FAE-D0CA-4874-8FAB-1D4459287252}" destId="{336BC2A7-06F4-4E79-9C49-1802D3F4B67A}" srcOrd="0" destOrd="0" parTransId="{97BE9845-689C-4996-92AA-595E12A8A5AA}" sibTransId="{A7BF8345-B955-4E74-B43B-43B5E63C5909}"/>
    <dgm:cxn modelId="{E9165C62-0DD8-40ED-A31E-43BBDB778B10}" type="presOf" srcId="{31038038-D96B-4005-8F7A-CA11640CF272}" destId="{CF3BE0A8-63A6-4885-8788-2D3E8ED9A7A6}" srcOrd="0" destOrd="0" presId="urn:microsoft.com/office/officeart/2005/8/layout/vList5"/>
    <dgm:cxn modelId="{FA6D7B4C-5506-44A9-8290-720F65856652}" type="presOf" srcId="{7E4D847D-4C73-461E-B03D-2089147A50FA}" destId="{83FD4A95-BF1E-438F-AF4B-30F30CB06668}" srcOrd="0" destOrd="0" presId="urn:microsoft.com/office/officeart/2005/8/layout/vList5"/>
    <dgm:cxn modelId="{4AF6C471-CB12-42DA-A266-DF402DB45BE3}" type="presOf" srcId="{08383FAE-D0CA-4874-8FAB-1D4459287252}" destId="{75E6320C-4006-429E-B778-935BA8BC2E88}" srcOrd="0" destOrd="0" presId="urn:microsoft.com/office/officeart/2005/8/layout/vList5"/>
    <dgm:cxn modelId="{26C83F73-6C10-4696-BA69-8E7C61145B22}" srcId="{7E4D847D-4C73-461E-B03D-2089147A50FA}" destId="{37619EF4-BE6D-4E62-A2B5-EDEC51A7AFB8}" srcOrd="0" destOrd="0" parTransId="{5EBD6EB0-D0D7-4F9C-B74E-80AE097333EB}" sibTransId="{0C7D4C8F-11F1-4CC1-BC34-413257A27220}"/>
    <dgm:cxn modelId="{4019E378-04EE-407A-A528-E70E016BD9D8}" srcId="{31038038-D96B-4005-8F7A-CA11640CF272}" destId="{7E4D847D-4C73-461E-B03D-2089147A50FA}" srcOrd="0" destOrd="0" parTransId="{D07C7556-4BB1-4B6E-B0FD-55357E268904}" sibTransId="{35446D0B-A7D2-42EB-9BD1-761A78C3DD17}"/>
    <dgm:cxn modelId="{8E710D7C-B971-4802-92AD-9E67E6DF8760}" type="presOf" srcId="{336BC2A7-06F4-4E79-9C49-1802D3F4B67A}" destId="{88F6B686-6C60-4131-A941-1A5B15431A74}" srcOrd="0" destOrd="0" presId="urn:microsoft.com/office/officeart/2005/8/layout/vList5"/>
    <dgm:cxn modelId="{BD737681-6FCC-42CB-B1AF-6CD79DDD2085}" type="presOf" srcId="{37619EF4-BE6D-4E62-A2B5-EDEC51A7AFB8}" destId="{DCF4402F-66B3-4A30-9D6E-1E43C9D10749}" srcOrd="0" destOrd="0" presId="urn:microsoft.com/office/officeart/2005/8/layout/vList5"/>
    <dgm:cxn modelId="{A50DABD6-5BF7-430E-9B9B-3FD8B4F9D254}" srcId="{31038038-D96B-4005-8F7A-CA11640CF272}" destId="{08383FAE-D0CA-4874-8FAB-1D4459287252}" srcOrd="1" destOrd="0" parTransId="{04F21B0B-2442-49BF-8DF3-3DABAFC3BB31}" sibTransId="{9388B3FA-E636-4638-A6B1-7167F4DE1319}"/>
    <dgm:cxn modelId="{F5C8CC36-402A-4A8C-AEE1-2F9AFF8763DD}" type="presParOf" srcId="{CF3BE0A8-63A6-4885-8788-2D3E8ED9A7A6}" destId="{45A42BD7-E8E9-4E14-BDEF-B6F987141850}" srcOrd="0" destOrd="0" presId="urn:microsoft.com/office/officeart/2005/8/layout/vList5"/>
    <dgm:cxn modelId="{D0730C46-0C47-40AF-A878-D6A1D761C650}" type="presParOf" srcId="{45A42BD7-E8E9-4E14-BDEF-B6F987141850}" destId="{83FD4A95-BF1E-438F-AF4B-30F30CB06668}" srcOrd="0" destOrd="0" presId="urn:microsoft.com/office/officeart/2005/8/layout/vList5"/>
    <dgm:cxn modelId="{3E5C6853-5991-409A-AA56-3CE08429D5C1}" type="presParOf" srcId="{45A42BD7-E8E9-4E14-BDEF-B6F987141850}" destId="{DCF4402F-66B3-4A30-9D6E-1E43C9D10749}" srcOrd="1" destOrd="0" presId="urn:microsoft.com/office/officeart/2005/8/layout/vList5"/>
    <dgm:cxn modelId="{F5B94753-33F4-4933-9396-0842D735C46F}" type="presParOf" srcId="{CF3BE0A8-63A6-4885-8788-2D3E8ED9A7A6}" destId="{345090DF-7FD2-47A7-A3B4-C600B7499C33}" srcOrd="1" destOrd="0" presId="urn:microsoft.com/office/officeart/2005/8/layout/vList5"/>
    <dgm:cxn modelId="{ED7D1AE8-675A-4018-91EF-460C4F05AB8F}" type="presParOf" srcId="{CF3BE0A8-63A6-4885-8788-2D3E8ED9A7A6}" destId="{0B9E82BD-5B08-4FA0-B470-CDEA8F94B6A9}" srcOrd="2" destOrd="0" presId="urn:microsoft.com/office/officeart/2005/8/layout/vList5"/>
    <dgm:cxn modelId="{701D214A-0BBC-4B3C-9400-EE89F97333DA}" type="presParOf" srcId="{0B9E82BD-5B08-4FA0-B470-CDEA8F94B6A9}" destId="{75E6320C-4006-429E-B778-935BA8BC2E88}" srcOrd="0" destOrd="0" presId="urn:microsoft.com/office/officeart/2005/8/layout/vList5"/>
    <dgm:cxn modelId="{6300E123-7F92-46B5-8072-ADFB5D0846FD}" type="presParOf" srcId="{0B9E82BD-5B08-4FA0-B470-CDEA8F94B6A9}" destId="{88F6B686-6C60-4131-A941-1A5B15431A7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AB2C7F3-E682-44BF-8B2A-235D3F1D303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606EE9-F531-4D81-BF7C-9B1108622784}">
      <dgm:prSet phldrT="[Text]" custT="1"/>
      <dgm:spPr/>
      <dgm:t>
        <a:bodyPr/>
        <a:lstStyle/>
        <a:p>
          <a:r>
            <a:rPr lang="en-US" sz="1800">
              <a:latin typeface="Arial" panose="020B0604020202020204" pitchFamily="34" charset="0"/>
              <a:cs typeface="Arial" panose="020B0604020202020204" pitchFamily="34" charset="0"/>
            </a:rPr>
            <a:t>Resource Allocation &amp; Planning</a:t>
          </a:r>
        </a:p>
      </dgm:t>
    </dgm:pt>
    <dgm:pt modelId="{46D77CEF-001F-4BAE-AE7F-323362BF4B41}" type="parTrans" cxnId="{2F89EACE-988D-445A-BC69-554EEC7D323F}">
      <dgm:prSet/>
      <dgm:spPr/>
      <dgm:t>
        <a:bodyPr/>
        <a:lstStyle/>
        <a:p>
          <a:endParaRPr lang="en-US"/>
        </a:p>
      </dgm:t>
    </dgm:pt>
    <dgm:pt modelId="{A6DF7465-D3FC-4EB5-AB5A-A5B8E8764384}" type="sibTrans" cxnId="{2F89EACE-988D-445A-BC69-554EEC7D323F}">
      <dgm:prSet/>
      <dgm:spPr/>
      <dgm:t>
        <a:bodyPr/>
        <a:lstStyle/>
        <a:p>
          <a:endParaRPr lang="en-US"/>
        </a:p>
      </dgm:t>
    </dgm:pt>
    <dgm:pt modelId="{A5E3F8DD-AD02-4369-AB49-A6A03B7AD04B}">
      <dgm:prSet phldrT="[Text]" custT="1"/>
      <dgm:spPr/>
      <dgm:t>
        <a:bodyPr/>
        <a:lstStyle/>
        <a:p>
          <a:r>
            <a:rPr lang="en-US" sz="1800">
              <a:latin typeface="Arial" panose="020B0604020202020204" pitchFamily="34" charset="0"/>
              <a:cs typeface="Arial" panose="020B0604020202020204" pitchFamily="34" charset="0"/>
            </a:rPr>
            <a:t>Financial Management</a:t>
          </a:r>
        </a:p>
      </dgm:t>
    </dgm:pt>
    <dgm:pt modelId="{E5BD5CDB-56C4-481D-A127-640F3D2A5436}" type="parTrans" cxnId="{DE198A94-A397-48F3-8A13-A3F5C158400D}">
      <dgm:prSet/>
      <dgm:spPr/>
      <dgm:t>
        <a:bodyPr/>
        <a:lstStyle/>
        <a:p>
          <a:endParaRPr lang="en-US"/>
        </a:p>
      </dgm:t>
    </dgm:pt>
    <dgm:pt modelId="{7EFF1C1D-740C-4A5C-A02A-E47D75E5D94E}" type="sibTrans" cxnId="{DE198A94-A397-48F3-8A13-A3F5C158400D}">
      <dgm:prSet/>
      <dgm:spPr/>
      <dgm:t>
        <a:bodyPr/>
        <a:lstStyle/>
        <a:p>
          <a:endParaRPr lang="en-US"/>
        </a:p>
      </dgm:t>
    </dgm:pt>
    <dgm:pt modelId="{83202D62-DB3D-48FE-97DB-EB1C64F4BB8A}">
      <dgm:prSet phldrT="[Text]" custT="1"/>
      <dgm:spPr/>
      <dgm:t>
        <a:bodyPr/>
        <a:lstStyle/>
        <a:p>
          <a:r>
            <a:rPr lang="en-US" sz="1800">
              <a:latin typeface="Arial" panose="020B0604020202020204" pitchFamily="34" charset="0"/>
              <a:cs typeface="Arial" panose="020B0604020202020204" pitchFamily="34" charset="0"/>
            </a:rPr>
            <a:t>Patient Satisfaction &amp; Engagement</a:t>
          </a:r>
        </a:p>
      </dgm:t>
    </dgm:pt>
    <dgm:pt modelId="{961266F3-953D-48C3-A7A6-12CD37F6B414}" type="parTrans" cxnId="{2ECF7198-CC0B-41C7-9D3A-8C557F4AE0F1}">
      <dgm:prSet/>
      <dgm:spPr/>
      <dgm:t>
        <a:bodyPr/>
        <a:lstStyle/>
        <a:p>
          <a:endParaRPr lang="en-US"/>
        </a:p>
      </dgm:t>
    </dgm:pt>
    <dgm:pt modelId="{FD9B1712-1FED-4EA0-AA77-1C1A8D1C4F4B}" type="sibTrans" cxnId="{2ECF7198-CC0B-41C7-9D3A-8C557F4AE0F1}">
      <dgm:prSet/>
      <dgm:spPr/>
      <dgm:t>
        <a:bodyPr/>
        <a:lstStyle/>
        <a:p>
          <a:endParaRPr lang="en-US"/>
        </a:p>
      </dgm:t>
    </dgm:pt>
    <dgm:pt modelId="{E832938F-CC82-4646-9CCD-5B8D38305D2C}">
      <dgm:prSet phldrT="[Text]" custT="1"/>
      <dgm:spPr/>
      <dgm:t>
        <a:bodyPr/>
        <a:lstStyle/>
        <a:p>
          <a:r>
            <a:rPr lang="en-US" sz="1800">
              <a:latin typeface="Arial" panose="020B0604020202020204" pitchFamily="34" charset="0"/>
              <a:cs typeface="Arial" panose="020B0604020202020204" pitchFamily="34" charset="0"/>
            </a:rPr>
            <a:t>Patient Quality Care</a:t>
          </a:r>
        </a:p>
      </dgm:t>
    </dgm:pt>
    <dgm:pt modelId="{C2FC7BB4-2CA8-48E6-89DE-8CB09A828F52}" type="parTrans" cxnId="{314123E8-D56B-4A1F-82F1-0B77AB2B85A5}">
      <dgm:prSet/>
      <dgm:spPr/>
      <dgm:t>
        <a:bodyPr/>
        <a:lstStyle/>
        <a:p>
          <a:endParaRPr lang="en-US"/>
        </a:p>
      </dgm:t>
    </dgm:pt>
    <dgm:pt modelId="{8EEEE933-68B3-441E-BF92-08958FDD9A32}" type="sibTrans" cxnId="{314123E8-D56B-4A1F-82F1-0B77AB2B85A5}">
      <dgm:prSet/>
      <dgm:spPr/>
      <dgm:t>
        <a:bodyPr/>
        <a:lstStyle/>
        <a:p>
          <a:endParaRPr lang="en-US"/>
        </a:p>
      </dgm:t>
    </dgm:pt>
    <dgm:pt modelId="{803D65B6-62F6-47CE-9707-F7AD96A4FAB1}" type="pres">
      <dgm:prSet presAssocID="{DAB2C7F3-E682-44BF-8B2A-235D3F1D303A}" presName="Name0" presStyleCnt="0">
        <dgm:presLayoutVars>
          <dgm:chMax val="7"/>
          <dgm:chPref val="7"/>
          <dgm:dir/>
        </dgm:presLayoutVars>
      </dgm:prSet>
      <dgm:spPr/>
    </dgm:pt>
    <dgm:pt modelId="{724CDEB8-1E23-4C8A-A0E0-505D74F04588}" type="pres">
      <dgm:prSet presAssocID="{DAB2C7F3-E682-44BF-8B2A-235D3F1D303A}" presName="Name1" presStyleCnt="0"/>
      <dgm:spPr/>
    </dgm:pt>
    <dgm:pt modelId="{A7415BBC-5A30-418B-9817-4572A8A38183}" type="pres">
      <dgm:prSet presAssocID="{DAB2C7F3-E682-44BF-8B2A-235D3F1D303A}" presName="cycle" presStyleCnt="0"/>
      <dgm:spPr/>
    </dgm:pt>
    <dgm:pt modelId="{0330D535-4D3E-4A4D-8DBA-804D704C2D3D}" type="pres">
      <dgm:prSet presAssocID="{DAB2C7F3-E682-44BF-8B2A-235D3F1D303A}" presName="srcNode" presStyleLbl="node1" presStyleIdx="0" presStyleCnt="4"/>
      <dgm:spPr/>
    </dgm:pt>
    <dgm:pt modelId="{B2B4BDA9-4A3B-404E-B0BA-834FAEAD9792}" type="pres">
      <dgm:prSet presAssocID="{DAB2C7F3-E682-44BF-8B2A-235D3F1D303A}" presName="conn" presStyleLbl="parChTrans1D2" presStyleIdx="0" presStyleCnt="1"/>
      <dgm:spPr/>
    </dgm:pt>
    <dgm:pt modelId="{FFCDF529-815E-4DC8-9FFA-B0706DE60399}" type="pres">
      <dgm:prSet presAssocID="{DAB2C7F3-E682-44BF-8B2A-235D3F1D303A}" presName="extraNode" presStyleLbl="node1" presStyleIdx="0" presStyleCnt="4"/>
      <dgm:spPr/>
    </dgm:pt>
    <dgm:pt modelId="{5630B027-27C3-4BD5-8335-236D49368332}" type="pres">
      <dgm:prSet presAssocID="{DAB2C7F3-E682-44BF-8B2A-235D3F1D303A}" presName="dstNode" presStyleLbl="node1" presStyleIdx="0" presStyleCnt="4"/>
      <dgm:spPr/>
    </dgm:pt>
    <dgm:pt modelId="{A53F9DFB-D3C1-4461-AA50-9045E1E69AA4}" type="pres">
      <dgm:prSet presAssocID="{DF606EE9-F531-4D81-BF7C-9B1108622784}" presName="text_1" presStyleLbl="node1" presStyleIdx="0" presStyleCnt="4" custLinFactNeighborX="559" custLinFactNeighborY="78">
        <dgm:presLayoutVars>
          <dgm:bulletEnabled val="1"/>
        </dgm:presLayoutVars>
      </dgm:prSet>
      <dgm:spPr/>
    </dgm:pt>
    <dgm:pt modelId="{DE3AA0ED-1E95-4FE7-8D14-935E33319739}" type="pres">
      <dgm:prSet presAssocID="{DF606EE9-F531-4D81-BF7C-9B1108622784}" presName="accent_1" presStyleCnt="0"/>
      <dgm:spPr/>
    </dgm:pt>
    <dgm:pt modelId="{C5031605-1F1C-43D5-A497-9B91141DE6CF}" type="pres">
      <dgm:prSet presAssocID="{DF606EE9-F531-4D81-BF7C-9B1108622784}" presName="accentRepeatNode" presStyleLbl="solidFgAcc1" presStyleIdx="0" presStyleCnt="4"/>
      <dgm:spPr/>
    </dgm:pt>
    <dgm:pt modelId="{DD703FE6-E536-4932-BA04-4286EA90206D}" type="pres">
      <dgm:prSet presAssocID="{A5E3F8DD-AD02-4369-AB49-A6A03B7AD04B}" presName="text_2" presStyleLbl="node1" presStyleIdx="1" presStyleCnt="4">
        <dgm:presLayoutVars>
          <dgm:bulletEnabled val="1"/>
        </dgm:presLayoutVars>
      </dgm:prSet>
      <dgm:spPr/>
    </dgm:pt>
    <dgm:pt modelId="{5CA415E4-DC31-4D07-BE51-653850C37550}" type="pres">
      <dgm:prSet presAssocID="{A5E3F8DD-AD02-4369-AB49-A6A03B7AD04B}" presName="accent_2" presStyleCnt="0"/>
      <dgm:spPr/>
    </dgm:pt>
    <dgm:pt modelId="{A88E506A-E806-4308-9EB0-AD44763FC80B}" type="pres">
      <dgm:prSet presAssocID="{A5E3F8DD-AD02-4369-AB49-A6A03B7AD04B}" presName="accentRepeatNode" presStyleLbl="solidFgAcc1" presStyleIdx="1" presStyleCnt="4"/>
      <dgm:spPr/>
    </dgm:pt>
    <dgm:pt modelId="{2D3E5186-387D-4646-8DDD-2A58F959F415}" type="pres">
      <dgm:prSet presAssocID="{83202D62-DB3D-48FE-97DB-EB1C64F4BB8A}" presName="text_3" presStyleLbl="node1" presStyleIdx="2" presStyleCnt="4">
        <dgm:presLayoutVars>
          <dgm:bulletEnabled val="1"/>
        </dgm:presLayoutVars>
      </dgm:prSet>
      <dgm:spPr/>
    </dgm:pt>
    <dgm:pt modelId="{F5D79133-6CB9-476D-BEAA-DB4B1BAB9A8D}" type="pres">
      <dgm:prSet presAssocID="{83202D62-DB3D-48FE-97DB-EB1C64F4BB8A}" presName="accent_3" presStyleCnt="0"/>
      <dgm:spPr/>
    </dgm:pt>
    <dgm:pt modelId="{C1442647-7D82-42E3-9D55-96A84B3579CC}" type="pres">
      <dgm:prSet presAssocID="{83202D62-DB3D-48FE-97DB-EB1C64F4BB8A}" presName="accentRepeatNode" presStyleLbl="solidFgAcc1" presStyleIdx="2" presStyleCnt="4"/>
      <dgm:spPr/>
    </dgm:pt>
    <dgm:pt modelId="{B317DB49-C067-44D6-8637-606BB10D15C1}" type="pres">
      <dgm:prSet presAssocID="{E832938F-CC82-4646-9CCD-5B8D38305D2C}" presName="text_4" presStyleLbl="node1" presStyleIdx="3" presStyleCnt="4">
        <dgm:presLayoutVars>
          <dgm:bulletEnabled val="1"/>
        </dgm:presLayoutVars>
      </dgm:prSet>
      <dgm:spPr/>
    </dgm:pt>
    <dgm:pt modelId="{3139DD24-D244-4DA8-BAA0-95F4376596D0}" type="pres">
      <dgm:prSet presAssocID="{E832938F-CC82-4646-9CCD-5B8D38305D2C}" presName="accent_4" presStyleCnt="0"/>
      <dgm:spPr/>
    </dgm:pt>
    <dgm:pt modelId="{F6BB8DAA-2F31-4BFA-BA9E-68B8C293D50D}" type="pres">
      <dgm:prSet presAssocID="{E832938F-CC82-4646-9CCD-5B8D38305D2C}" presName="accentRepeatNode" presStyleLbl="solidFgAcc1" presStyleIdx="3" presStyleCnt="4"/>
      <dgm:spPr/>
    </dgm:pt>
  </dgm:ptLst>
  <dgm:cxnLst>
    <dgm:cxn modelId="{363F1F02-1675-4593-9D8F-1EA2A8A00D08}" type="presOf" srcId="{E832938F-CC82-4646-9CCD-5B8D38305D2C}" destId="{B317DB49-C067-44D6-8637-606BB10D15C1}" srcOrd="0" destOrd="0" presId="urn:microsoft.com/office/officeart/2008/layout/VerticalCurvedList"/>
    <dgm:cxn modelId="{2367BC19-62D2-4F4B-8EDB-949C30BF6CF5}" type="presOf" srcId="{DAB2C7F3-E682-44BF-8B2A-235D3F1D303A}" destId="{803D65B6-62F6-47CE-9707-F7AD96A4FAB1}" srcOrd="0" destOrd="0" presId="urn:microsoft.com/office/officeart/2008/layout/VerticalCurvedList"/>
    <dgm:cxn modelId="{4777E71F-F789-44F1-8733-9C51C046C771}" type="presOf" srcId="{A5E3F8DD-AD02-4369-AB49-A6A03B7AD04B}" destId="{DD703FE6-E536-4932-BA04-4286EA90206D}" srcOrd="0" destOrd="0" presId="urn:microsoft.com/office/officeart/2008/layout/VerticalCurvedList"/>
    <dgm:cxn modelId="{3B87EC42-A91A-405D-9DB1-A2F1F7BC4259}" type="presOf" srcId="{A6DF7465-D3FC-4EB5-AB5A-A5B8E8764384}" destId="{B2B4BDA9-4A3B-404E-B0BA-834FAEAD9792}" srcOrd="0" destOrd="0" presId="urn:microsoft.com/office/officeart/2008/layout/VerticalCurvedList"/>
    <dgm:cxn modelId="{B39F2180-91DE-4D0B-B6A9-8A1C6FCCA3D8}" type="presOf" srcId="{83202D62-DB3D-48FE-97DB-EB1C64F4BB8A}" destId="{2D3E5186-387D-4646-8DDD-2A58F959F415}" srcOrd="0" destOrd="0" presId="urn:microsoft.com/office/officeart/2008/layout/VerticalCurvedList"/>
    <dgm:cxn modelId="{DE198A94-A397-48F3-8A13-A3F5C158400D}" srcId="{DAB2C7F3-E682-44BF-8B2A-235D3F1D303A}" destId="{A5E3F8DD-AD02-4369-AB49-A6A03B7AD04B}" srcOrd="1" destOrd="0" parTransId="{E5BD5CDB-56C4-481D-A127-640F3D2A5436}" sibTransId="{7EFF1C1D-740C-4A5C-A02A-E47D75E5D94E}"/>
    <dgm:cxn modelId="{2ECF7198-CC0B-41C7-9D3A-8C557F4AE0F1}" srcId="{DAB2C7F3-E682-44BF-8B2A-235D3F1D303A}" destId="{83202D62-DB3D-48FE-97DB-EB1C64F4BB8A}" srcOrd="2" destOrd="0" parTransId="{961266F3-953D-48C3-A7A6-12CD37F6B414}" sibTransId="{FD9B1712-1FED-4EA0-AA77-1C1A8D1C4F4B}"/>
    <dgm:cxn modelId="{13346FA4-138D-4EF8-8685-1B5539F65E0D}" type="presOf" srcId="{DF606EE9-F531-4D81-BF7C-9B1108622784}" destId="{A53F9DFB-D3C1-4461-AA50-9045E1E69AA4}" srcOrd="0" destOrd="0" presId="urn:microsoft.com/office/officeart/2008/layout/VerticalCurvedList"/>
    <dgm:cxn modelId="{2F89EACE-988D-445A-BC69-554EEC7D323F}" srcId="{DAB2C7F3-E682-44BF-8B2A-235D3F1D303A}" destId="{DF606EE9-F531-4D81-BF7C-9B1108622784}" srcOrd="0" destOrd="0" parTransId="{46D77CEF-001F-4BAE-AE7F-323362BF4B41}" sibTransId="{A6DF7465-D3FC-4EB5-AB5A-A5B8E8764384}"/>
    <dgm:cxn modelId="{314123E8-D56B-4A1F-82F1-0B77AB2B85A5}" srcId="{DAB2C7F3-E682-44BF-8B2A-235D3F1D303A}" destId="{E832938F-CC82-4646-9CCD-5B8D38305D2C}" srcOrd="3" destOrd="0" parTransId="{C2FC7BB4-2CA8-48E6-89DE-8CB09A828F52}" sibTransId="{8EEEE933-68B3-441E-BF92-08958FDD9A32}"/>
    <dgm:cxn modelId="{3DC7484A-4833-4A90-942A-7AE04C121999}" type="presParOf" srcId="{803D65B6-62F6-47CE-9707-F7AD96A4FAB1}" destId="{724CDEB8-1E23-4C8A-A0E0-505D74F04588}" srcOrd="0" destOrd="0" presId="urn:microsoft.com/office/officeart/2008/layout/VerticalCurvedList"/>
    <dgm:cxn modelId="{8EA4DB73-CE67-4B1D-82D4-7A7F9D4929C3}" type="presParOf" srcId="{724CDEB8-1E23-4C8A-A0E0-505D74F04588}" destId="{A7415BBC-5A30-418B-9817-4572A8A38183}" srcOrd="0" destOrd="0" presId="urn:microsoft.com/office/officeart/2008/layout/VerticalCurvedList"/>
    <dgm:cxn modelId="{CD11F242-31FD-4CAD-A4F2-B5E89EEA5001}" type="presParOf" srcId="{A7415BBC-5A30-418B-9817-4572A8A38183}" destId="{0330D535-4D3E-4A4D-8DBA-804D704C2D3D}" srcOrd="0" destOrd="0" presId="urn:microsoft.com/office/officeart/2008/layout/VerticalCurvedList"/>
    <dgm:cxn modelId="{A1A3406F-640A-4F83-802B-1AA82072F78C}" type="presParOf" srcId="{A7415BBC-5A30-418B-9817-4572A8A38183}" destId="{B2B4BDA9-4A3B-404E-B0BA-834FAEAD9792}" srcOrd="1" destOrd="0" presId="urn:microsoft.com/office/officeart/2008/layout/VerticalCurvedList"/>
    <dgm:cxn modelId="{D4CAD318-04CC-4F1F-99DD-CCE498A7A6F0}" type="presParOf" srcId="{A7415BBC-5A30-418B-9817-4572A8A38183}" destId="{FFCDF529-815E-4DC8-9FFA-B0706DE60399}" srcOrd="2" destOrd="0" presId="urn:microsoft.com/office/officeart/2008/layout/VerticalCurvedList"/>
    <dgm:cxn modelId="{1E1D691E-C4BC-4645-A010-956646AE23AB}" type="presParOf" srcId="{A7415BBC-5A30-418B-9817-4572A8A38183}" destId="{5630B027-27C3-4BD5-8335-236D49368332}" srcOrd="3" destOrd="0" presId="urn:microsoft.com/office/officeart/2008/layout/VerticalCurvedList"/>
    <dgm:cxn modelId="{7069C030-A28C-4D02-8843-C520F89B7757}" type="presParOf" srcId="{724CDEB8-1E23-4C8A-A0E0-505D74F04588}" destId="{A53F9DFB-D3C1-4461-AA50-9045E1E69AA4}" srcOrd="1" destOrd="0" presId="urn:microsoft.com/office/officeart/2008/layout/VerticalCurvedList"/>
    <dgm:cxn modelId="{A0FB80CB-60E9-4351-9704-203B269BE0CC}" type="presParOf" srcId="{724CDEB8-1E23-4C8A-A0E0-505D74F04588}" destId="{DE3AA0ED-1E95-4FE7-8D14-935E33319739}" srcOrd="2" destOrd="0" presId="urn:microsoft.com/office/officeart/2008/layout/VerticalCurvedList"/>
    <dgm:cxn modelId="{A3840ED5-7244-45B8-BC1F-28171ED8E827}" type="presParOf" srcId="{DE3AA0ED-1E95-4FE7-8D14-935E33319739}" destId="{C5031605-1F1C-43D5-A497-9B91141DE6CF}" srcOrd="0" destOrd="0" presId="urn:microsoft.com/office/officeart/2008/layout/VerticalCurvedList"/>
    <dgm:cxn modelId="{16224C27-881C-49E0-B821-C0E5A1EE76AD}" type="presParOf" srcId="{724CDEB8-1E23-4C8A-A0E0-505D74F04588}" destId="{DD703FE6-E536-4932-BA04-4286EA90206D}" srcOrd="3" destOrd="0" presId="urn:microsoft.com/office/officeart/2008/layout/VerticalCurvedList"/>
    <dgm:cxn modelId="{7EE4821B-1480-4A7A-968E-18007A51446C}" type="presParOf" srcId="{724CDEB8-1E23-4C8A-A0E0-505D74F04588}" destId="{5CA415E4-DC31-4D07-BE51-653850C37550}" srcOrd="4" destOrd="0" presId="urn:microsoft.com/office/officeart/2008/layout/VerticalCurvedList"/>
    <dgm:cxn modelId="{44121BBB-1037-4E63-B129-2AAD02EF0417}" type="presParOf" srcId="{5CA415E4-DC31-4D07-BE51-653850C37550}" destId="{A88E506A-E806-4308-9EB0-AD44763FC80B}" srcOrd="0" destOrd="0" presId="urn:microsoft.com/office/officeart/2008/layout/VerticalCurvedList"/>
    <dgm:cxn modelId="{29D3F56B-545A-45B1-990D-A539AF2F01DD}" type="presParOf" srcId="{724CDEB8-1E23-4C8A-A0E0-505D74F04588}" destId="{2D3E5186-387D-4646-8DDD-2A58F959F415}" srcOrd="5" destOrd="0" presId="urn:microsoft.com/office/officeart/2008/layout/VerticalCurvedList"/>
    <dgm:cxn modelId="{5F376CA9-3509-4F53-9D6A-A8D41FF8C881}" type="presParOf" srcId="{724CDEB8-1E23-4C8A-A0E0-505D74F04588}" destId="{F5D79133-6CB9-476D-BEAA-DB4B1BAB9A8D}" srcOrd="6" destOrd="0" presId="urn:microsoft.com/office/officeart/2008/layout/VerticalCurvedList"/>
    <dgm:cxn modelId="{2F77637F-2161-4BD2-A252-BD78F93635CD}" type="presParOf" srcId="{F5D79133-6CB9-476D-BEAA-DB4B1BAB9A8D}" destId="{C1442647-7D82-42E3-9D55-96A84B3579CC}" srcOrd="0" destOrd="0" presId="urn:microsoft.com/office/officeart/2008/layout/VerticalCurvedList"/>
    <dgm:cxn modelId="{F0103C83-1465-4FE5-B001-57BD30051D78}" type="presParOf" srcId="{724CDEB8-1E23-4C8A-A0E0-505D74F04588}" destId="{B317DB49-C067-44D6-8637-606BB10D15C1}" srcOrd="7" destOrd="0" presId="urn:microsoft.com/office/officeart/2008/layout/VerticalCurvedList"/>
    <dgm:cxn modelId="{34A25B1A-F8DC-496C-84A1-9F3627442423}" type="presParOf" srcId="{724CDEB8-1E23-4C8A-A0E0-505D74F04588}" destId="{3139DD24-D244-4DA8-BAA0-95F4376596D0}" srcOrd="8" destOrd="0" presId="urn:microsoft.com/office/officeart/2008/layout/VerticalCurvedList"/>
    <dgm:cxn modelId="{6DC4F9AE-C5B5-47E1-9402-9F54EE86505D}" type="presParOf" srcId="{3139DD24-D244-4DA8-BAA0-95F4376596D0}" destId="{F6BB8DAA-2F31-4BFA-BA9E-68B8C293D50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4EE015A-7EB2-46DB-8288-1D1751101C3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1DBBAE4-2699-441C-8118-3583CA57479E}">
      <dgm:prSet phldrT="[Text]"/>
      <dgm:spPr>
        <a:solidFill>
          <a:srgbClr val="00B0F0"/>
        </a:solidFill>
      </dgm:spPr>
      <dgm:t>
        <a:bodyPr/>
        <a:lstStyle/>
        <a:p>
          <a:r>
            <a:rPr lang="en-US"/>
            <a:t>Week 1-2</a:t>
          </a:r>
        </a:p>
      </dgm:t>
    </dgm:pt>
    <dgm:pt modelId="{0A0598D4-C46A-45E2-97DB-F0F74B1FE114}" type="parTrans" cxnId="{F72B1574-7DBB-448D-A3B9-8332543399C8}">
      <dgm:prSet/>
      <dgm:spPr/>
      <dgm:t>
        <a:bodyPr/>
        <a:lstStyle/>
        <a:p>
          <a:endParaRPr lang="en-US"/>
        </a:p>
      </dgm:t>
    </dgm:pt>
    <dgm:pt modelId="{F4F603FD-3FC0-4B91-813B-E3A6FF653DB6}" type="sibTrans" cxnId="{F72B1574-7DBB-448D-A3B9-8332543399C8}">
      <dgm:prSet/>
      <dgm:spPr/>
      <dgm:t>
        <a:bodyPr/>
        <a:lstStyle/>
        <a:p>
          <a:endParaRPr lang="en-US"/>
        </a:p>
      </dgm:t>
    </dgm:pt>
    <dgm:pt modelId="{92F64699-4020-4268-85BC-25168EEBF884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/>
            <a:t>Week 3-4</a:t>
          </a:r>
        </a:p>
      </dgm:t>
    </dgm:pt>
    <dgm:pt modelId="{5BF75444-1F6B-4066-B1CA-4255B96205FF}" type="parTrans" cxnId="{5AA1678F-4E88-49CD-9D09-4928F7063BAB}">
      <dgm:prSet/>
      <dgm:spPr/>
      <dgm:t>
        <a:bodyPr/>
        <a:lstStyle/>
        <a:p>
          <a:endParaRPr lang="en-US"/>
        </a:p>
      </dgm:t>
    </dgm:pt>
    <dgm:pt modelId="{68654EFE-091D-489A-A0C2-588424D860BC}" type="sibTrans" cxnId="{5AA1678F-4E88-49CD-9D09-4928F7063BAB}">
      <dgm:prSet/>
      <dgm:spPr/>
      <dgm:t>
        <a:bodyPr/>
        <a:lstStyle/>
        <a:p>
          <a:endParaRPr lang="en-US"/>
        </a:p>
      </dgm:t>
    </dgm:pt>
    <dgm:pt modelId="{895EA438-CB0E-416B-A34A-BD8CAE9C1AC0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Week 4-6</a:t>
          </a:r>
        </a:p>
      </dgm:t>
    </dgm:pt>
    <dgm:pt modelId="{0A867197-38EB-4DF9-A8E0-7780B5020389}" type="parTrans" cxnId="{51E5D32E-C9D9-4B2F-95DD-DAC0D72301C2}">
      <dgm:prSet/>
      <dgm:spPr/>
      <dgm:t>
        <a:bodyPr/>
        <a:lstStyle/>
        <a:p>
          <a:endParaRPr lang="en-US"/>
        </a:p>
      </dgm:t>
    </dgm:pt>
    <dgm:pt modelId="{9750F36D-9FEF-4B62-8F7A-76E7727AE7B4}" type="sibTrans" cxnId="{51E5D32E-C9D9-4B2F-95DD-DAC0D72301C2}">
      <dgm:prSet/>
      <dgm:spPr/>
      <dgm:t>
        <a:bodyPr/>
        <a:lstStyle/>
        <a:p>
          <a:endParaRPr lang="en-US"/>
        </a:p>
      </dgm:t>
    </dgm:pt>
    <dgm:pt modelId="{03FE5339-2C94-422F-A103-764BA938E7F2}">
      <dgm:prSet phldrT="[Text]"/>
      <dgm:spPr/>
      <dgm:t>
        <a:bodyPr/>
        <a:lstStyle/>
        <a:p>
          <a:r>
            <a:rPr lang="en-US"/>
            <a:t>Week 6-7 </a:t>
          </a:r>
        </a:p>
      </dgm:t>
    </dgm:pt>
    <dgm:pt modelId="{766845AE-DDF4-4644-8226-941A49756046}" type="parTrans" cxnId="{7E513130-B652-45DF-A7DB-CD792615261B}">
      <dgm:prSet/>
      <dgm:spPr/>
      <dgm:t>
        <a:bodyPr/>
        <a:lstStyle/>
        <a:p>
          <a:endParaRPr lang="en-US"/>
        </a:p>
      </dgm:t>
    </dgm:pt>
    <dgm:pt modelId="{FADE2CE2-BA65-46A6-9663-193B3743B50E}" type="sibTrans" cxnId="{7E513130-B652-45DF-A7DB-CD792615261B}">
      <dgm:prSet/>
      <dgm:spPr/>
      <dgm:t>
        <a:bodyPr/>
        <a:lstStyle/>
        <a:p>
          <a:endParaRPr lang="en-US"/>
        </a:p>
      </dgm:t>
    </dgm:pt>
    <dgm:pt modelId="{DC4296F4-8086-414E-9356-75C72F6318B1}" type="pres">
      <dgm:prSet presAssocID="{F4EE015A-7EB2-46DB-8288-1D1751101C3F}" presName="Name0" presStyleCnt="0">
        <dgm:presLayoutVars>
          <dgm:dir/>
          <dgm:resizeHandles val="exact"/>
        </dgm:presLayoutVars>
      </dgm:prSet>
      <dgm:spPr/>
    </dgm:pt>
    <dgm:pt modelId="{4618BE32-B9C2-4CBB-AE80-3BF9DB432237}" type="pres">
      <dgm:prSet presAssocID="{E1DBBAE4-2699-441C-8118-3583CA57479E}" presName="node" presStyleLbl="node1" presStyleIdx="0" presStyleCnt="4">
        <dgm:presLayoutVars>
          <dgm:bulletEnabled val="1"/>
        </dgm:presLayoutVars>
      </dgm:prSet>
      <dgm:spPr/>
    </dgm:pt>
    <dgm:pt modelId="{1D0052CC-D8F9-4F9B-99F6-660E6D68EBE6}" type="pres">
      <dgm:prSet presAssocID="{F4F603FD-3FC0-4B91-813B-E3A6FF653DB6}" presName="sibTrans" presStyleLbl="sibTrans2D1" presStyleIdx="0" presStyleCnt="3" custLinFactNeighborX="-887" custLinFactNeighborY="29"/>
      <dgm:spPr/>
    </dgm:pt>
    <dgm:pt modelId="{2DB2C937-4CBF-486E-AD66-B0C6F6510D59}" type="pres">
      <dgm:prSet presAssocID="{F4F603FD-3FC0-4B91-813B-E3A6FF653DB6}" presName="connectorText" presStyleLbl="sibTrans2D1" presStyleIdx="0" presStyleCnt="3"/>
      <dgm:spPr/>
    </dgm:pt>
    <dgm:pt modelId="{3F857382-44DB-401F-B2CB-84295BAD7AFD}" type="pres">
      <dgm:prSet presAssocID="{92F64699-4020-4268-85BC-25168EEBF884}" presName="node" presStyleLbl="node1" presStyleIdx="1" presStyleCnt="4">
        <dgm:presLayoutVars>
          <dgm:bulletEnabled val="1"/>
        </dgm:presLayoutVars>
      </dgm:prSet>
      <dgm:spPr/>
    </dgm:pt>
    <dgm:pt modelId="{583BBCD9-1B56-4B78-A9AE-B4D6D6354B7F}" type="pres">
      <dgm:prSet presAssocID="{68654EFE-091D-489A-A0C2-588424D860BC}" presName="sibTrans" presStyleLbl="sibTrans2D1" presStyleIdx="1" presStyleCnt="3" custLinFactNeighborX="4228" custLinFactNeighborY="1335"/>
      <dgm:spPr/>
    </dgm:pt>
    <dgm:pt modelId="{286361F8-4068-4962-A3BA-5AAD176B552E}" type="pres">
      <dgm:prSet presAssocID="{68654EFE-091D-489A-A0C2-588424D860BC}" presName="connectorText" presStyleLbl="sibTrans2D1" presStyleIdx="1" presStyleCnt="3"/>
      <dgm:spPr/>
    </dgm:pt>
    <dgm:pt modelId="{DEF239B2-3F72-4E53-B91C-37CFFAA67EDB}" type="pres">
      <dgm:prSet presAssocID="{895EA438-CB0E-416B-A34A-BD8CAE9C1AC0}" presName="node" presStyleLbl="node1" presStyleIdx="2" presStyleCnt="4" custLinFactNeighborX="-1096">
        <dgm:presLayoutVars>
          <dgm:bulletEnabled val="1"/>
        </dgm:presLayoutVars>
      </dgm:prSet>
      <dgm:spPr/>
    </dgm:pt>
    <dgm:pt modelId="{2D203B2F-A00D-4F85-84EC-66A92A19C8E5}" type="pres">
      <dgm:prSet presAssocID="{9750F36D-9FEF-4B62-8F7A-76E7727AE7B4}" presName="sibTrans" presStyleLbl="sibTrans2D1" presStyleIdx="2" presStyleCnt="3"/>
      <dgm:spPr/>
    </dgm:pt>
    <dgm:pt modelId="{D81C9BD5-3CBE-4C30-9BA6-22DAF6A32B98}" type="pres">
      <dgm:prSet presAssocID="{9750F36D-9FEF-4B62-8F7A-76E7727AE7B4}" presName="connectorText" presStyleLbl="sibTrans2D1" presStyleIdx="2" presStyleCnt="3"/>
      <dgm:spPr/>
    </dgm:pt>
    <dgm:pt modelId="{28A8A4C5-2FDC-4334-A895-F121A03E4422}" type="pres">
      <dgm:prSet presAssocID="{03FE5339-2C94-422F-A103-764BA938E7F2}" presName="node" presStyleLbl="node1" presStyleIdx="3" presStyleCnt="4">
        <dgm:presLayoutVars>
          <dgm:bulletEnabled val="1"/>
        </dgm:presLayoutVars>
      </dgm:prSet>
      <dgm:spPr/>
    </dgm:pt>
  </dgm:ptLst>
  <dgm:cxnLst>
    <dgm:cxn modelId="{51E5D32E-C9D9-4B2F-95DD-DAC0D72301C2}" srcId="{F4EE015A-7EB2-46DB-8288-1D1751101C3F}" destId="{895EA438-CB0E-416B-A34A-BD8CAE9C1AC0}" srcOrd="2" destOrd="0" parTransId="{0A867197-38EB-4DF9-A8E0-7780B5020389}" sibTransId="{9750F36D-9FEF-4B62-8F7A-76E7727AE7B4}"/>
    <dgm:cxn modelId="{7E513130-B652-45DF-A7DB-CD792615261B}" srcId="{F4EE015A-7EB2-46DB-8288-1D1751101C3F}" destId="{03FE5339-2C94-422F-A103-764BA938E7F2}" srcOrd="3" destOrd="0" parTransId="{766845AE-DDF4-4644-8226-941A49756046}" sibTransId="{FADE2CE2-BA65-46A6-9663-193B3743B50E}"/>
    <dgm:cxn modelId="{D0C0E63C-0B54-4377-8B39-748C7A88BF07}" type="presOf" srcId="{03FE5339-2C94-422F-A103-764BA938E7F2}" destId="{28A8A4C5-2FDC-4334-A895-F121A03E4422}" srcOrd="0" destOrd="0" presId="urn:microsoft.com/office/officeart/2005/8/layout/process1"/>
    <dgm:cxn modelId="{68695A3E-9C98-4429-8688-C3076F29345B}" type="presOf" srcId="{F4EE015A-7EB2-46DB-8288-1D1751101C3F}" destId="{DC4296F4-8086-414E-9356-75C72F6318B1}" srcOrd="0" destOrd="0" presId="urn:microsoft.com/office/officeart/2005/8/layout/process1"/>
    <dgm:cxn modelId="{77C45E45-B72B-45B7-8ACF-3EE778CC7391}" type="presOf" srcId="{9750F36D-9FEF-4B62-8F7A-76E7727AE7B4}" destId="{2D203B2F-A00D-4F85-84EC-66A92A19C8E5}" srcOrd="0" destOrd="0" presId="urn:microsoft.com/office/officeart/2005/8/layout/process1"/>
    <dgm:cxn modelId="{F72B1574-7DBB-448D-A3B9-8332543399C8}" srcId="{F4EE015A-7EB2-46DB-8288-1D1751101C3F}" destId="{E1DBBAE4-2699-441C-8118-3583CA57479E}" srcOrd="0" destOrd="0" parTransId="{0A0598D4-C46A-45E2-97DB-F0F74B1FE114}" sibTransId="{F4F603FD-3FC0-4B91-813B-E3A6FF653DB6}"/>
    <dgm:cxn modelId="{7DAFBB75-F74B-4FB4-A6A1-AA8A61F2367A}" type="presOf" srcId="{E1DBBAE4-2699-441C-8118-3583CA57479E}" destId="{4618BE32-B9C2-4CBB-AE80-3BF9DB432237}" srcOrd="0" destOrd="0" presId="urn:microsoft.com/office/officeart/2005/8/layout/process1"/>
    <dgm:cxn modelId="{5AA1678F-4E88-49CD-9D09-4928F7063BAB}" srcId="{F4EE015A-7EB2-46DB-8288-1D1751101C3F}" destId="{92F64699-4020-4268-85BC-25168EEBF884}" srcOrd="1" destOrd="0" parTransId="{5BF75444-1F6B-4066-B1CA-4255B96205FF}" sibTransId="{68654EFE-091D-489A-A0C2-588424D860BC}"/>
    <dgm:cxn modelId="{64221294-AF41-46EB-A656-8506F0BA0827}" type="presOf" srcId="{68654EFE-091D-489A-A0C2-588424D860BC}" destId="{286361F8-4068-4962-A3BA-5AAD176B552E}" srcOrd="1" destOrd="0" presId="urn:microsoft.com/office/officeart/2005/8/layout/process1"/>
    <dgm:cxn modelId="{4F5E0EC1-8892-4CBC-A840-A152D99A2A39}" type="presOf" srcId="{895EA438-CB0E-416B-A34A-BD8CAE9C1AC0}" destId="{DEF239B2-3F72-4E53-B91C-37CFFAA67EDB}" srcOrd="0" destOrd="0" presId="urn:microsoft.com/office/officeart/2005/8/layout/process1"/>
    <dgm:cxn modelId="{11C76DC1-4441-461D-968D-A4B8726A0C0F}" type="presOf" srcId="{92F64699-4020-4268-85BC-25168EEBF884}" destId="{3F857382-44DB-401F-B2CB-84295BAD7AFD}" srcOrd="0" destOrd="0" presId="urn:microsoft.com/office/officeart/2005/8/layout/process1"/>
    <dgm:cxn modelId="{35763EC3-8CCE-4F95-A923-00A8F2456D46}" type="presOf" srcId="{F4F603FD-3FC0-4B91-813B-E3A6FF653DB6}" destId="{1D0052CC-D8F9-4F9B-99F6-660E6D68EBE6}" srcOrd="0" destOrd="0" presId="urn:microsoft.com/office/officeart/2005/8/layout/process1"/>
    <dgm:cxn modelId="{34D215E7-AA93-4251-BFE0-B92603D6EEBC}" type="presOf" srcId="{68654EFE-091D-489A-A0C2-588424D860BC}" destId="{583BBCD9-1B56-4B78-A9AE-B4D6D6354B7F}" srcOrd="0" destOrd="0" presId="urn:microsoft.com/office/officeart/2005/8/layout/process1"/>
    <dgm:cxn modelId="{B2F4C6E8-B970-48CB-8167-C6CF30AF542A}" type="presOf" srcId="{F4F603FD-3FC0-4B91-813B-E3A6FF653DB6}" destId="{2DB2C937-4CBF-486E-AD66-B0C6F6510D59}" srcOrd="1" destOrd="0" presId="urn:microsoft.com/office/officeart/2005/8/layout/process1"/>
    <dgm:cxn modelId="{29AD41F8-1746-4B62-8929-6487D866B677}" type="presOf" srcId="{9750F36D-9FEF-4B62-8F7A-76E7727AE7B4}" destId="{D81C9BD5-3CBE-4C30-9BA6-22DAF6A32B98}" srcOrd="1" destOrd="0" presId="urn:microsoft.com/office/officeart/2005/8/layout/process1"/>
    <dgm:cxn modelId="{F8D7DCEF-5C29-4387-807F-C325241F0155}" type="presParOf" srcId="{DC4296F4-8086-414E-9356-75C72F6318B1}" destId="{4618BE32-B9C2-4CBB-AE80-3BF9DB432237}" srcOrd="0" destOrd="0" presId="urn:microsoft.com/office/officeart/2005/8/layout/process1"/>
    <dgm:cxn modelId="{42C070E2-E822-4743-BA91-C6B3956307CA}" type="presParOf" srcId="{DC4296F4-8086-414E-9356-75C72F6318B1}" destId="{1D0052CC-D8F9-4F9B-99F6-660E6D68EBE6}" srcOrd="1" destOrd="0" presId="urn:microsoft.com/office/officeart/2005/8/layout/process1"/>
    <dgm:cxn modelId="{CC361319-861C-4497-A398-FADFB53A4E2A}" type="presParOf" srcId="{1D0052CC-D8F9-4F9B-99F6-660E6D68EBE6}" destId="{2DB2C937-4CBF-486E-AD66-B0C6F6510D59}" srcOrd="0" destOrd="0" presId="urn:microsoft.com/office/officeart/2005/8/layout/process1"/>
    <dgm:cxn modelId="{3D32999C-FEDF-494A-9860-E6695213378F}" type="presParOf" srcId="{DC4296F4-8086-414E-9356-75C72F6318B1}" destId="{3F857382-44DB-401F-B2CB-84295BAD7AFD}" srcOrd="2" destOrd="0" presId="urn:microsoft.com/office/officeart/2005/8/layout/process1"/>
    <dgm:cxn modelId="{4F3621F8-A6A5-4071-A319-06C3BDDB62B8}" type="presParOf" srcId="{DC4296F4-8086-414E-9356-75C72F6318B1}" destId="{583BBCD9-1B56-4B78-A9AE-B4D6D6354B7F}" srcOrd="3" destOrd="0" presId="urn:microsoft.com/office/officeart/2005/8/layout/process1"/>
    <dgm:cxn modelId="{9D690837-36A3-4568-B723-26F8CE7E9EC7}" type="presParOf" srcId="{583BBCD9-1B56-4B78-A9AE-B4D6D6354B7F}" destId="{286361F8-4068-4962-A3BA-5AAD176B552E}" srcOrd="0" destOrd="0" presId="urn:microsoft.com/office/officeart/2005/8/layout/process1"/>
    <dgm:cxn modelId="{6FD80638-E788-40A4-8EE4-6CC7AA54DA53}" type="presParOf" srcId="{DC4296F4-8086-414E-9356-75C72F6318B1}" destId="{DEF239B2-3F72-4E53-B91C-37CFFAA67EDB}" srcOrd="4" destOrd="0" presId="urn:microsoft.com/office/officeart/2005/8/layout/process1"/>
    <dgm:cxn modelId="{41FAFD3E-EB87-42AF-84A8-731D6877957B}" type="presParOf" srcId="{DC4296F4-8086-414E-9356-75C72F6318B1}" destId="{2D203B2F-A00D-4F85-84EC-66A92A19C8E5}" srcOrd="5" destOrd="0" presId="urn:microsoft.com/office/officeart/2005/8/layout/process1"/>
    <dgm:cxn modelId="{959770B6-A279-4DAF-9CCC-4413AA0CD80C}" type="presParOf" srcId="{2D203B2F-A00D-4F85-84EC-66A92A19C8E5}" destId="{D81C9BD5-3CBE-4C30-9BA6-22DAF6A32B98}" srcOrd="0" destOrd="0" presId="urn:microsoft.com/office/officeart/2005/8/layout/process1"/>
    <dgm:cxn modelId="{8490D235-1945-4B15-8185-C85EFB818602}" type="presParOf" srcId="{DC4296F4-8086-414E-9356-75C72F6318B1}" destId="{28A8A4C5-2FDC-4334-A895-F121A03E4422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F4A3372-93E3-41FD-811D-F447F81F0F2A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</dgm:pt>
    <dgm:pt modelId="{DD4310B1-9032-4DA4-BD5A-1C291539BCA9}">
      <dgm:prSet phldrT="[Text]" custT="1"/>
      <dgm:spPr/>
      <dgm:t>
        <a:bodyPr/>
        <a:lstStyle/>
        <a:p>
          <a:pPr algn="ctr" rtl="0"/>
          <a:r>
            <a:rPr lang="en-US" sz="2400">
              <a:latin typeface="Arial" panose="020B0604020202020204"/>
            </a:rPr>
            <a:t>Technical Skills</a:t>
          </a:r>
          <a:endParaRPr lang="en-US" sz="2400"/>
        </a:p>
      </dgm:t>
    </dgm:pt>
    <dgm:pt modelId="{89DA4903-72B1-438A-87CD-7BBF6700C2A5}" type="parTrans" cxnId="{9994F69F-4AC0-42D0-B212-F45E53AD27A0}">
      <dgm:prSet/>
      <dgm:spPr/>
      <dgm:t>
        <a:bodyPr/>
        <a:lstStyle/>
        <a:p>
          <a:endParaRPr lang="en-US"/>
        </a:p>
      </dgm:t>
    </dgm:pt>
    <dgm:pt modelId="{40C6561F-3A7E-4B61-B03F-DA6040AC7462}" type="sibTrans" cxnId="{9994F69F-4AC0-42D0-B212-F45E53AD27A0}">
      <dgm:prSet/>
      <dgm:spPr/>
      <dgm:t>
        <a:bodyPr/>
        <a:lstStyle/>
        <a:p>
          <a:endParaRPr lang="en-US"/>
        </a:p>
      </dgm:t>
    </dgm:pt>
    <dgm:pt modelId="{C03C725B-F752-42F1-B450-F572C2E132E6}">
      <dgm:prSet phldrT="[Text]" custT="1"/>
      <dgm:spPr/>
      <dgm:t>
        <a:bodyPr/>
        <a:lstStyle/>
        <a:p>
          <a:pPr algn="ctr"/>
          <a:r>
            <a:rPr lang="en-US" sz="2400"/>
            <a:t>Soft Skills</a:t>
          </a:r>
        </a:p>
      </dgm:t>
    </dgm:pt>
    <dgm:pt modelId="{E89E0C4C-21C8-4A8D-AAB1-84045AF82A70}" type="parTrans" cxnId="{16AADCD0-EDE2-475C-BB0D-023040C0C1AE}">
      <dgm:prSet/>
      <dgm:spPr/>
      <dgm:t>
        <a:bodyPr/>
        <a:lstStyle/>
        <a:p>
          <a:endParaRPr lang="en-US"/>
        </a:p>
      </dgm:t>
    </dgm:pt>
    <dgm:pt modelId="{05DE90AE-9148-44DD-BF83-9E14ADBD531A}" type="sibTrans" cxnId="{16AADCD0-EDE2-475C-BB0D-023040C0C1AE}">
      <dgm:prSet/>
      <dgm:spPr/>
      <dgm:t>
        <a:bodyPr/>
        <a:lstStyle/>
        <a:p>
          <a:endParaRPr lang="en-US"/>
        </a:p>
      </dgm:t>
    </dgm:pt>
    <dgm:pt modelId="{3C55BC33-7C94-4ECE-8462-4B6167C731D9}" type="pres">
      <dgm:prSet presAssocID="{4F4A3372-93E3-41FD-811D-F447F81F0F2A}" presName="diagram" presStyleCnt="0">
        <dgm:presLayoutVars>
          <dgm:dir/>
          <dgm:animLvl val="lvl"/>
          <dgm:resizeHandles val="exact"/>
        </dgm:presLayoutVars>
      </dgm:prSet>
      <dgm:spPr/>
    </dgm:pt>
    <dgm:pt modelId="{481685BA-7FDA-43F2-9BA2-6DCCA28AA45C}" type="pres">
      <dgm:prSet presAssocID="{DD4310B1-9032-4DA4-BD5A-1C291539BCA9}" presName="compNode" presStyleCnt="0"/>
      <dgm:spPr/>
    </dgm:pt>
    <dgm:pt modelId="{3B8D5E33-4F0B-4A27-881C-D1C9C1517AEC}" type="pres">
      <dgm:prSet presAssocID="{DD4310B1-9032-4DA4-BD5A-1C291539BCA9}" presName="childRect" presStyleLbl="bgAcc1" presStyleIdx="0" presStyleCnt="2">
        <dgm:presLayoutVars>
          <dgm:bulletEnabled val="1"/>
        </dgm:presLayoutVars>
      </dgm:prSet>
      <dgm:spPr/>
    </dgm:pt>
    <dgm:pt modelId="{A3945AD5-109F-4B61-B691-1597DDA59FF5}" type="pres">
      <dgm:prSet presAssocID="{DD4310B1-9032-4DA4-BD5A-1C291539BCA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AF216D3-D4C9-4C2C-BC21-1401FC64B6FB}" type="pres">
      <dgm:prSet presAssocID="{DD4310B1-9032-4DA4-BD5A-1C291539BCA9}" presName="parentRect" presStyleLbl="alignNode1" presStyleIdx="0" presStyleCnt="2"/>
      <dgm:spPr/>
    </dgm:pt>
    <dgm:pt modelId="{8C34539A-8ED6-4E0A-B894-5FECB6C65DFF}" type="pres">
      <dgm:prSet presAssocID="{DD4310B1-9032-4DA4-BD5A-1C291539BCA9}" presName="adorn" presStyleLbl="fgAccFollowNode1" presStyleIdx="0" presStyleCnt="2"/>
      <dgm:spPr/>
    </dgm:pt>
    <dgm:pt modelId="{8FD18AB1-E0E1-4D99-A69B-B1E5F4C708CE}" type="pres">
      <dgm:prSet presAssocID="{40C6561F-3A7E-4B61-B03F-DA6040AC7462}" presName="sibTrans" presStyleLbl="sibTrans2D1" presStyleIdx="0" presStyleCnt="0"/>
      <dgm:spPr/>
    </dgm:pt>
    <dgm:pt modelId="{F4916BBB-8946-492B-A43E-A94CB26A4B52}" type="pres">
      <dgm:prSet presAssocID="{C03C725B-F752-42F1-B450-F572C2E132E6}" presName="compNode" presStyleCnt="0"/>
      <dgm:spPr/>
    </dgm:pt>
    <dgm:pt modelId="{37D02608-799D-4D50-A654-5D74CB290F78}" type="pres">
      <dgm:prSet presAssocID="{C03C725B-F752-42F1-B450-F572C2E132E6}" presName="childRect" presStyleLbl="bgAcc1" presStyleIdx="1" presStyleCnt="2" custLinFactNeighborX="26734" custLinFactNeighborY="-588">
        <dgm:presLayoutVars>
          <dgm:bulletEnabled val="1"/>
        </dgm:presLayoutVars>
      </dgm:prSet>
      <dgm:spPr/>
    </dgm:pt>
    <dgm:pt modelId="{23D27B3E-C948-4847-9557-A28A3F467C86}" type="pres">
      <dgm:prSet presAssocID="{C03C725B-F752-42F1-B450-F572C2E132E6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126D4943-42B8-4C47-8E3A-8E6C8B57823A}" type="pres">
      <dgm:prSet presAssocID="{C03C725B-F752-42F1-B450-F572C2E132E6}" presName="parentRect" presStyleLbl="alignNode1" presStyleIdx="1" presStyleCnt="2" custLinFactNeighborX="26938" custLinFactNeighborY="1038"/>
      <dgm:spPr/>
    </dgm:pt>
    <dgm:pt modelId="{8148FE66-0C49-45C1-9122-1D21392B5803}" type="pres">
      <dgm:prSet presAssocID="{C03C725B-F752-42F1-B450-F572C2E132E6}" presName="adorn" presStyleLbl="fgAccFollowNode1" presStyleIdx="1" presStyleCnt="2" custLinFactX="6992" custLinFactNeighborX="100000" custLinFactNeighborY="2087"/>
      <dgm:spPr/>
    </dgm:pt>
  </dgm:ptLst>
  <dgm:cxnLst>
    <dgm:cxn modelId="{BDE20F42-EBD0-4B7B-9534-AD5D6FECC6C2}" type="presOf" srcId="{DD4310B1-9032-4DA4-BD5A-1C291539BCA9}" destId="{8AF216D3-D4C9-4C2C-BC21-1401FC64B6FB}" srcOrd="1" destOrd="0" presId="urn:microsoft.com/office/officeart/2005/8/layout/bList2"/>
    <dgm:cxn modelId="{8F69EC4F-D830-4B97-8D53-130C56241241}" type="presOf" srcId="{C03C725B-F752-42F1-B450-F572C2E132E6}" destId="{126D4943-42B8-4C47-8E3A-8E6C8B57823A}" srcOrd="1" destOrd="0" presId="urn:microsoft.com/office/officeart/2005/8/layout/bList2"/>
    <dgm:cxn modelId="{A863BF77-2067-4D3D-B1F3-98EF08A67D3E}" type="presOf" srcId="{C03C725B-F752-42F1-B450-F572C2E132E6}" destId="{23D27B3E-C948-4847-9557-A28A3F467C86}" srcOrd="0" destOrd="0" presId="urn:microsoft.com/office/officeart/2005/8/layout/bList2"/>
    <dgm:cxn modelId="{47A3098C-338B-45EE-BDD5-88C58C8EAB2D}" type="presOf" srcId="{DD4310B1-9032-4DA4-BD5A-1C291539BCA9}" destId="{A3945AD5-109F-4B61-B691-1597DDA59FF5}" srcOrd="0" destOrd="0" presId="urn:microsoft.com/office/officeart/2005/8/layout/bList2"/>
    <dgm:cxn modelId="{9994F69F-4AC0-42D0-B212-F45E53AD27A0}" srcId="{4F4A3372-93E3-41FD-811D-F447F81F0F2A}" destId="{DD4310B1-9032-4DA4-BD5A-1C291539BCA9}" srcOrd="0" destOrd="0" parTransId="{89DA4903-72B1-438A-87CD-7BBF6700C2A5}" sibTransId="{40C6561F-3A7E-4B61-B03F-DA6040AC7462}"/>
    <dgm:cxn modelId="{5E6819AC-D4B5-4BDF-B0AA-BCF5A64A3CF1}" type="presOf" srcId="{4F4A3372-93E3-41FD-811D-F447F81F0F2A}" destId="{3C55BC33-7C94-4ECE-8462-4B6167C731D9}" srcOrd="0" destOrd="0" presId="urn:microsoft.com/office/officeart/2005/8/layout/bList2"/>
    <dgm:cxn modelId="{E180F4B7-AC07-4AAD-99F1-27D15B36DD8E}" type="presOf" srcId="{40C6561F-3A7E-4B61-B03F-DA6040AC7462}" destId="{8FD18AB1-E0E1-4D99-A69B-B1E5F4C708CE}" srcOrd="0" destOrd="0" presId="urn:microsoft.com/office/officeart/2005/8/layout/bList2"/>
    <dgm:cxn modelId="{16AADCD0-EDE2-475C-BB0D-023040C0C1AE}" srcId="{4F4A3372-93E3-41FD-811D-F447F81F0F2A}" destId="{C03C725B-F752-42F1-B450-F572C2E132E6}" srcOrd="1" destOrd="0" parTransId="{E89E0C4C-21C8-4A8D-AAB1-84045AF82A70}" sibTransId="{05DE90AE-9148-44DD-BF83-9E14ADBD531A}"/>
    <dgm:cxn modelId="{0F0EFBA7-45D2-4CC3-961C-7FD4CF32F28B}" type="presParOf" srcId="{3C55BC33-7C94-4ECE-8462-4B6167C731D9}" destId="{481685BA-7FDA-43F2-9BA2-6DCCA28AA45C}" srcOrd="0" destOrd="0" presId="urn:microsoft.com/office/officeart/2005/8/layout/bList2"/>
    <dgm:cxn modelId="{AF6A2EFF-D65F-40D0-909A-E3C10E85865F}" type="presParOf" srcId="{481685BA-7FDA-43F2-9BA2-6DCCA28AA45C}" destId="{3B8D5E33-4F0B-4A27-881C-D1C9C1517AEC}" srcOrd="0" destOrd="0" presId="urn:microsoft.com/office/officeart/2005/8/layout/bList2"/>
    <dgm:cxn modelId="{F49784B4-33E3-435C-904F-3122F3B4D06F}" type="presParOf" srcId="{481685BA-7FDA-43F2-9BA2-6DCCA28AA45C}" destId="{A3945AD5-109F-4B61-B691-1597DDA59FF5}" srcOrd="1" destOrd="0" presId="urn:microsoft.com/office/officeart/2005/8/layout/bList2"/>
    <dgm:cxn modelId="{E47C6D9E-8CEF-4562-8231-76D0B8FEC637}" type="presParOf" srcId="{481685BA-7FDA-43F2-9BA2-6DCCA28AA45C}" destId="{8AF216D3-D4C9-4C2C-BC21-1401FC64B6FB}" srcOrd="2" destOrd="0" presId="urn:microsoft.com/office/officeart/2005/8/layout/bList2"/>
    <dgm:cxn modelId="{82BAAF10-75AF-4153-B432-6F01B5F4EEA1}" type="presParOf" srcId="{481685BA-7FDA-43F2-9BA2-6DCCA28AA45C}" destId="{8C34539A-8ED6-4E0A-B894-5FECB6C65DFF}" srcOrd="3" destOrd="0" presId="urn:microsoft.com/office/officeart/2005/8/layout/bList2"/>
    <dgm:cxn modelId="{74A14843-5810-44BF-A7EE-6F934AB09510}" type="presParOf" srcId="{3C55BC33-7C94-4ECE-8462-4B6167C731D9}" destId="{8FD18AB1-E0E1-4D99-A69B-B1E5F4C708CE}" srcOrd="1" destOrd="0" presId="urn:microsoft.com/office/officeart/2005/8/layout/bList2"/>
    <dgm:cxn modelId="{EBF9E4FC-734F-4BBC-AA44-71E0B8A14DEC}" type="presParOf" srcId="{3C55BC33-7C94-4ECE-8462-4B6167C731D9}" destId="{F4916BBB-8946-492B-A43E-A94CB26A4B52}" srcOrd="2" destOrd="0" presId="urn:microsoft.com/office/officeart/2005/8/layout/bList2"/>
    <dgm:cxn modelId="{44D5440C-23BD-49D4-B12C-2B339620AF94}" type="presParOf" srcId="{F4916BBB-8946-492B-A43E-A94CB26A4B52}" destId="{37D02608-799D-4D50-A654-5D74CB290F78}" srcOrd="0" destOrd="0" presId="urn:microsoft.com/office/officeart/2005/8/layout/bList2"/>
    <dgm:cxn modelId="{A73CB695-A503-45C5-AE9C-0A73511A58F2}" type="presParOf" srcId="{F4916BBB-8946-492B-A43E-A94CB26A4B52}" destId="{23D27B3E-C948-4847-9557-A28A3F467C86}" srcOrd="1" destOrd="0" presId="urn:microsoft.com/office/officeart/2005/8/layout/bList2"/>
    <dgm:cxn modelId="{A67350EA-5F2D-4196-984D-51EB54D89A4E}" type="presParOf" srcId="{F4916BBB-8946-492B-A43E-A94CB26A4B52}" destId="{126D4943-42B8-4C47-8E3A-8E6C8B57823A}" srcOrd="2" destOrd="0" presId="urn:microsoft.com/office/officeart/2005/8/layout/bList2"/>
    <dgm:cxn modelId="{8D8475D5-5F32-4C94-82B0-E44A528DD71D}" type="presParOf" srcId="{F4916BBB-8946-492B-A43E-A94CB26A4B52}" destId="{8148FE66-0C49-45C1-9122-1D21392B5803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AE8B2C-8F3F-4B6F-ADEF-CA0A4A979ABC}">
      <dsp:nvSpPr>
        <dsp:cNvPr id="0" name=""/>
        <dsp:cNvSpPr/>
      </dsp:nvSpPr>
      <dsp:spPr>
        <a:xfrm>
          <a:off x="2964" y="1061885"/>
          <a:ext cx="2061978" cy="26624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1</a:t>
          </a:r>
        </a:p>
      </dsp:txBody>
      <dsp:txXfrm>
        <a:off x="2964" y="1061885"/>
        <a:ext cx="1995418" cy="266240"/>
      </dsp:txXfrm>
    </dsp:sp>
    <dsp:sp modelId="{7DDA1834-D3E3-4362-9FB1-B51451D768F4}">
      <dsp:nvSpPr>
        <dsp:cNvPr id="0" name=""/>
        <dsp:cNvSpPr/>
      </dsp:nvSpPr>
      <dsp:spPr>
        <a:xfrm>
          <a:off x="1881562" y="1062125"/>
          <a:ext cx="2500282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2</a:t>
          </a:r>
        </a:p>
      </dsp:txBody>
      <dsp:txXfrm>
        <a:off x="2014682" y="1062125"/>
        <a:ext cx="2234042" cy="266240"/>
      </dsp:txXfrm>
    </dsp:sp>
    <dsp:sp modelId="{062E8A7D-ADD0-4476-BF32-FCF327890DE8}">
      <dsp:nvSpPr>
        <dsp:cNvPr id="0" name=""/>
        <dsp:cNvSpPr/>
      </dsp:nvSpPr>
      <dsp:spPr>
        <a:xfrm>
          <a:off x="4273709" y="1055772"/>
          <a:ext cx="1687943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3</a:t>
          </a:r>
        </a:p>
      </dsp:txBody>
      <dsp:txXfrm>
        <a:off x="4406829" y="1055772"/>
        <a:ext cx="1421703" cy="266240"/>
      </dsp:txXfrm>
    </dsp:sp>
    <dsp:sp modelId="{5E7770D9-6854-4BDB-B905-91AB8340D5E1}">
      <dsp:nvSpPr>
        <dsp:cNvPr id="0" name=""/>
        <dsp:cNvSpPr/>
      </dsp:nvSpPr>
      <dsp:spPr>
        <a:xfrm>
          <a:off x="5833230" y="1062237"/>
          <a:ext cx="1611319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4</a:t>
          </a:r>
        </a:p>
      </dsp:txBody>
      <dsp:txXfrm>
        <a:off x="5966350" y="1062237"/>
        <a:ext cx="1345079" cy="266240"/>
      </dsp:txXfrm>
    </dsp:sp>
    <dsp:sp modelId="{C18C6EC3-99FB-40B1-B1A1-AD877A56B722}">
      <dsp:nvSpPr>
        <dsp:cNvPr id="0" name=""/>
        <dsp:cNvSpPr/>
      </dsp:nvSpPr>
      <dsp:spPr>
        <a:xfrm>
          <a:off x="7336988" y="1053717"/>
          <a:ext cx="665600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5</a:t>
          </a:r>
        </a:p>
      </dsp:txBody>
      <dsp:txXfrm>
        <a:off x="7470108" y="1053717"/>
        <a:ext cx="399360" cy="266240"/>
      </dsp:txXfrm>
    </dsp:sp>
    <dsp:sp modelId="{0EA6936C-BFAD-4F5C-9D9E-1735FDE69EC4}">
      <dsp:nvSpPr>
        <dsp:cNvPr id="0" name=""/>
        <dsp:cNvSpPr/>
      </dsp:nvSpPr>
      <dsp:spPr>
        <a:xfrm>
          <a:off x="7882916" y="1053719"/>
          <a:ext cx="665600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6</a:t>
          </a:r>
        </a:p>
      </dsp:txBody>
      <dsp:txXfrm>
        <a:off x="8016036" y="1053719"/>
        <a:ext cx="399360" cy="266240"/>
      </dsp:txXfrm>
    </dsp:sp>
    <dsp:sp modelId="{05803A5A-2281-446F-B6C4-FE0BD62DBAAD}">
      <dsp:nvSpPr>
        <dsp:cNvPr id="0" name=""/>
        <dsp:cNvSpPr/>
      </dsp:nvSpPr>
      <dsp:spPr>
        <a:xfrm>
          <a:off x="8401949" y="1053717"/>
          <a:ext cx="2096083" cy="2662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7</a:t>
          </a:r>
        </a:p>
      </dsp:txBody>
      <dsp:txXfrm>
        <a:off x="8535069" y="1053717"/>
        <a:ext cx="1829843" cy="2662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BEE596-1F04-413A-A99F-281E1612A53D}">
      <dsp:nvSpPr>
        <dsp:cNvPr id="0" name=""/>
        <dsp:cNvSpPr/>
      </dsp:nvSpPr>
      <dsp:spPr>
        <a:xfrm>
          <a:off x="0" y="0"/>
          <a:ext cx="8392769" cy="32348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  Jan 1, 2017 – Jun 30, 2018</a:t>
          </a:r>
        </a:p>
      </dsp:txBody>
      <dsp:txXfrm>
        <a:off x="0" y="0"/>
        <a:ext cx="8311899" cy="323480"/>
      </dsp:txXfrm>
    </dsp:sp>
    <dsp:sp modelId="{0B8938D0-CB6D-4C18-9CF1-6FDFF7B7516C}">
      <dsp:nvSpPr>
        <dsp:cNvPr id="0" name=""/>
        <dsp:cNvSpPr/>
      </dsp:nvSpPr>
      <dsp:spPr>
        <a:xfrm>
          <a:off x="6862861" y="0"/>
          <a:ext cx="4797249" cy="3234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July 1 – Dec 31,2018</a:t>
          </a:r>
        </a:p>
      </dsp:txBody>
      <dsp:txXfrm>
        <a:off x="7024601" y="0"/>
        <a:ext cx="4473769" cy="3234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4FFCA2-27B2-4D9D-A4FB-AFF99763E077}">
      <dsp:nvSpPr>
        <dsp:cNvPr id="0" name=""/>
        <dsp:cNvSpPr/>
      </dsp:nvSpPr>
      <dsp:spPr>
        <a:xfrm>
          <a:off x="0" y="0"/>
          <a:ext cx="7737167" cy="338204"/>
        </a:xfrm>
        <a:prstGeom prst="homePlat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>
              <a:latin typeface="Arial" panose="020B0604020202020204"/>
            </a:rPr>
            <a:t>TRAINING</a:t>
          </a:r>
          <a:r>
            <a:rPr lang="en-US" sz="1400" b="1" kern="1200">
              <a:latin typeface="Arial" panose="020B0604020202020204"/>
            </a:rPr>
            <a:t> </a:t>
          </a:r>
          <a:r>
            <a:rPr lang="en-US" sz="1500" b="1" kern="1200">
              <a:latin typeface="Arial" panose="020B0604020202020204"/>
            </a:rPr>
            <a:t>DATA</a:t>
          </a:r>
          <a:endParaRPr lang="en-US" sz="1500" b="1" kern="1200"/>
        </a:p>
      </dsp:txBody>
      <dsp:txXfrm>
        <a:off x="0" y="0"/>
        <a:ext cx="7652616" cy="338204"/>
      </dsp:txXfrm>
    </dsp:sp>
    <dsp:sp modelId="{BE4C7DEB-5031-4CF2-B573-ED717BDE823F}">
      <dsp:nvSpPr>
        <dsp:cNvPr id="0" name=""/>
        <dsp:cNvSpPr/>
      </dsp:nvSpPr>
      <dsp:spPr>
        <a:xfrm>
          <a:off x="6909794" y="0"/>
          <a:ext cx="4750531" cy="338204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TESTING DATA</a:t>
          </a:r>
        </a:p>
      </dsp:txBody>
      <dsp:txXfrm>
        <a:off x="7078896" y="0"/>
        <a:ext cx="4412327" cy="33820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F4402F-66B3-4A30-9D6E-1E43C9D10749}">
      <dsp:nvSpPr>
        <dsp:cNvPr id="0" name=""/>
        <dsp:cNvSpPr/>
      </dsp:nvSpPr>
      <dsp:spPr>
        <a:xfrm rot="5400000">
          <a:off x="4885614" y="-1992977"/>
          <a:ext cx="2042937" cy="60288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700"/>
            </a:spcAft>
            <a:buFont typeface="Arial" panose="020B0604020202020204" pitchFamily="34" charset="0"/>
            <a:buChar char="•"/>
          </a:pPr>
          <a:endParaRPr lang="en-US" sz="1600" kern="1200"/>
        </a:p>
      </dsp:txBody>
      <dsp:txXfrm rot="-5400000">
        <a:off x="2892636" y="99729"/>
        <a:ext cx="5929165" cy="1843481"/>
      </dsp:txXfrm>
    </dsp:sp>
    <dsp:sp modelId="{83FD4A95-BF1E-438F-AF4B-30F30CB06668}">
      <dsp:nvSpPr>
        <dsp:cNvPr id="0" name=""/>
        <dsp:cNvSpPr/>
      </dsp:nvSpPr>
      <dsp:spPr>
        <a:xfrm>
          <a:off x="496716" y="385761"/>
          <a:ext cx="2397819" cy="127553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latin typeface="Arial" panose="020B0604020202020204" pitchFamily="34" charset="0"/>
              <a:cs typeface="Arial" panose="020B0604020202020204" pitchFamily="34" charset="0"/>
            </a:rPr>
            <a:t>Technical</a:t>
          </a:r>
        </a:p>
      </dsp:txBody>
      <dsp:txXfrm>
        <a:off x="558982" y="448027"/>
        <a:ext cx="2273287" cy="1151001"/>
      </dsp:txXfrm>
    </dsp:sp>
    <dsp:sp modelId="{88F6B686-6C60-4131-A941-1A5B15431A74}">
      <dsp:nvSpPr>
        <dsp:cNvPr id="0" name=""/>
        <dsp:cNvSpPr/>
      </dsp:nvSpPr>
      <dsp:spPr>
        <a:xfrm rot="5400000">
          <a:off x="4887513" y="179702"/>
          <a:ext cx="2042937" cy="60288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700"/>
            </a:spcAft>
            <a:buFont typeface="Arial" panose="020B0604020202020204" pitchFamily="34" charset="0"/>
            <a:buNone/>
          </a:pPr>
          <a:endParaRPr lang="en-US" sz="16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-5400000">
        <a:off x="2894535" y="2272408"/>
        <a:ext cx="5929165" cy="1843481"/>
      </dsp:txXfrm>
    </dsp:sp>
    <dsp:sp modelId="{75E6320C-4006-429E-B778-935BA8BC2E88}">
      <dsp:nvSpPr>
        <dsp:cNvPr id="0" name=""/>
        <dsp:cNvSpPr/>
      </dsp:nvSpPr>
      <dsp:spPr>
        <a:xfrm>
          <a:off x="496716" y="2556382"/>
          <a:ext cx="2397819" cy="127553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latin typeface="Arial" panose="020B0604020202020204" pitchFamily="34" charset="0"/>
              <a:cs typeface="Arial" panose="020B0604020202020204" pitchFamily="34" charset="0"/>
            </a:rPr>
            <a:t>Soft Skills</a:t>
          </a:r>
        </a:p>
      </dsp:txBody>
      <dsp:txXfrm>
        <a:off x="558982" y="2618648"/>
        <a:ext cx="2273287" cy="11510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B4BDA9-4A3B-404E-B0BA-834FAEAD9792}">
      <dsp:nvSpPr>
        <dsp:cNvPr id="0" name=""/>
        <dsp:cNvSpPr/>
      </dsp:nvSpPr>
      <dsp:spPr>
        <a:xfrm>
          <a:off x="-5331287" y="-816444"/>
          <a:ext cx="6348261" cy="6348261"/>
        </a:xfrm>
        <a:prstGeom prst="blockArc">
          <a:avLst>
            <a:gd name="adj1" fmla="val 18900000"/>
            <a:gd name="adj2" fmla="val 2700000"/>
            <a:gd name="adj3" fmla="val 34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3F9DFB-D3C1-4461-AA50-9045E1E69AA4}">
      <dsp:nvSpPr>
        <dsp:cNvPr id="0" name=""/>
        <dsp:cNvSpPr/>
      </dsp:nvSpPr>
      <dsp:spPr>
        <a:xfrm>
          <a:off x="566976" y="363083"/>
          <a:ext cx="6179222" cy="7254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579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Arial" panose="020B0604020202020204" pitchFamily="34" charset="0"/>
              <a:cs typeface="Arial" panose="020B0604020202020204" pitchFamily="34" charset="0"/>
            </a:rPr>
            <a:t>Resource Allocation &amp; Planning</a:t>
          </a:r>
        </a:p>
      </dsp:txBody>
      <dsp:txXfrm>
        <a:off x="566976" y="363083"/>
        <a:ext cx="6179222" cy="725412"/>
      </dsp:txXfrm>
    </dsp:sp>
    <dsp:sp modelId="{C5031605-1F1C-43D5-A497-9B91141DE6CF}">
      <dsp:nvSpPr>
        <dsp:cNvPr id="0" name=""/>
        <dsp:cNvSpPr/>
      </dsp:nvSpPr>
      <dsp:spPr>
        <a:xfrm>
          <a:off x="79051" y="271841"/>
          <a:ext cx="906766" cy="9067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703FE6-E536-4932-BA04-4286EA90206D}">
      <dsp:nvSpPr>
        <dsp:cNvPr id="0" name=""/>
        <dsp:cNvSpPr/>
      </dsp:nvSpPr>
      <dsp:spPr>
        <a:xfrm>
          <a:off x="948330" y="1450825"/>
          <a:ext cx="5763326" cy="7254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579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Arial" panose="020B0604020202020204" pitchFamily="34" charset="0"/>
              <a:cs typeface="Arial" panose="020B0604020202020204" pitchFamily="34" charset="0"/>
            </a:rPr>
            <a:t>Financial Management</a:t>
          </a:r>
        </a:p>
      </dsp:txBody>
      <dsp:txXfrm>
        <a:off x="948330" y="1450825"/>
        <a:ext cx="5763326" cy="725412"/>
      </dsp:txXfrm>
    </dsp:sp>
    <dsp:sp modelId="{A88E506A-E806-4308-9EB0-AD44763FC80B}">
      <dsp:nvSpPr>
        <dsp:cNvPr id="0" name=""/>
        <dsp:cNvSpPr/>
      </dsp:nvSpPr>
      <dsp:spPr>
        <a:xfrm>
          <a:off x="494947" y="1360149"/>
          <a:ext cx="906766" cy="9067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3E5186-387D-4646-8DDD-2A58F959F415}">
      <dsp:nvSpPr>
        <dsp:cNvPr id="0" name=""/>
        <dsp:cNvSpPr/>
      </dsp:nvSpPr>
      <dsp:spPr>
        <a:xfrm>
          <a:off x="948330" y="2539134"/>
          <a:ext cx="5763326" cy="7254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579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Arial" panose="020B0604020202020204" pitchFamily="34" charset="0"/>
              <a:cs typeface="Arial" panose="020B0604020202020204" pitchFamily="34" charset="0"/>
            </a:rPr>
            <a:t>Patient Satisfaction &amp; Engagement</a:t>
          </a:r>
        </a:p>
      </dsp:txBody>
      <dsp:txXfrm>
        <a:off x="948330" y="2539134"/>
        <a:ext cx="5763326" cy="725412"/>
      </dsp:txXfrm>
    </dsp:sp>
    <dsp:sp modelId="{C1442647-7D82-42E3-9D55-96A84B3579CC}">
      <dsp:nvSpPr>
        <dsp:cNvPr id="0" name=""/>
        <dsp:cNvSpPr/>
      </dsp:nvSpPr>
      <dsp:spPr>
        <a:xfrm>
          <a:off x="494947" y="2448457"/>
          <a:ext cx="906766" cy="9067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7DB49-C067-44D6-8637-606BB10D15C1}">
      <dsp:nvSpPr>
        <dsp:cNvPr id="0" name=""/>
        <dsp:cNvSpPr/>
      </dsp:nvSpPr>
      <dsp:spPr>
        <a:xfrm>
          <a:off x="532434" y="3627442"/>
          <a:ext cx="6179222" cy="7254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579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Arial" panose="020B0604020202020204" pitchFamily="34" charset="0"/>
              <a:cs typeface="Arial" panose="020B0604020202020204" pitchFamily="34" charset="0"/>
            </a:rPr>
            <a:t>Patient Quality Care</a:t>
          </a:r>
        </a:p>
      </dsp:txBody>
      <dsp:txXfrm>
        <a:off x="532434" y="3627442"/>
        <a:ext cx="6179222" cy="725412"/>
      </dsp:txXfrm>
    </dsp:sp>
    <dsp:sp modelId="{F6BB8DAA-2F31-4BFA-BA9E-68B8C293D50D}">
      <dsp:nvSpPr>
        <dsp:cNvPr id="0" name=""/>
        <dsp:cNvSpPr/>
      </dsp:nvSpPr>
      <dsp:spPr>
        <a:xfrm>
          <a:off x="79051" y="3536765"/>
          <a:ext cx="906766" cy="9067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18BE32-B9C2-4CBB-AE80-3BF9DB432237}">
      <dsp:nvSpPr>
        <dsp:cNvPr id="0" name=""/>
        <dsp:cNvSpPr/>
      </dsp:nvSpPr>
      <dsp:spPr>
        <a:xfrm>
          <a:off x="3828" y="0"/>
          <a:ext cx="1673967" cy="432619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eek 1-2</a:t>
          </a:r>
        </a:p>
      </dsp:txBody>
      <dsp:txXfrm>
        <a:off x="16499" y="12671"/>
        <a:ext cx="1648625" cy="407277"/>
      </dsp:txXfrm>
    </dsp:sp>
    <dsp:sp modelId="{1D0052CC-D8F9-4F9B-99F6-660E6D68EBE6}">
      <dsp:nvSpPr>
        <dsp:cNvPr id="0" name=""/>
        <dsp:cNvSpPr/>
      </dsp:nvSpPr>
      <dsp:spPr>
        <a:xfrm>
          <a:off x="1842045" y="8857"/>
          <a:ext cx="354881" cy="4151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1842045" y="91886"/>
        <a:ext cx="248417" cy="249086"/>
      </dsp:txXfrm>
    </dsp:sp>
    <dsp:sp modelId="{3F857382-44DB-401F-B2CB-84295BAD7AFD}">
      <dsp:nvSpPr>
        <dsp:cNvPr id="0" name=""/>
        <dsp:cNvSpPr/>
      </dsp:nvSpPr>
      <dsp:spPr>
        <a:xfrm>
          <a:off x="2347383" y="0"/>
          <a:ext cx="1673967" cy="432619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eek 3-4</a:t>
          </a:r>
        </a:p>
      </dsp:txBody>
      <dsp:txXfrm>
        <a:off x="2360054" y="12671"/>
        <a:ext cx="1648625" cy="407277"/>
      </dsp:txXfrm>
    </dsp:sp>
    <dsp:sp modelId="{583BBCD9-1B56-4B78-A9AE-B4D6D6354B7F}">
      <dsp:nvSpPr>
        <dsp:cNvPr id="0" name=""/>
        <dsp:cNvSpPr/>
      </dsp:nvSpPr>
      <dsp:spPr>
        <a:xfrm>
          <a:off x="4201753" y="14279"/>
          <a:ext cx="350991" cy="4151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4201753" y="97308"/>
        <a:ext cx="245694" cy="249086"/>
      </dsp:txXfrm>
    </dsp:sp>
    <dsp:sp modelId="{DEF239B2-3F72-4E53-B91C-37CFFAA67EDB}">
      <dsp:nvSpPr>
        <dsp:cNvPr id="0" name=""/>
        <dsp:cNvSpPr/>
      </dsp:nvSpPr>
      <dsp:spPr>
        <a:xfrm>
          <a:off x="4683599" y="0"/>
          <a:ext cx="1673967" cy="432619"/>
        </a:xfrm>
        <a:prstGeom prst="roundRect">
          <a:avLst>
            <a:gd name="adj" fmla="val 1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eek 4-6</a:t>
          </a:r>
        </a:p>
      </dsp:txBody>
      <dsp:txXfrm>
        <a:off x="4696270" y="12671"/>
        <a:ext cx="1648625" cy="407277"/>
      </dsp:txXfrm>
    </dsp:sp>
    <dsp:sp modelId="{2D203B2F-A00D-4F85-84EC-66A92A19C8E5}">
      <dsp:nvSpPr>
        <dsp:cNvPr id="0" name=""/>
        <dsp:cNvSpPr/>
      </dsp:nvSpPr>
      <dsp:spPr>
        <a:xfrm>
          <a:off x="6526799" y="8737"/>
          <a:ext cx="358770" cy="4151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6526799" y="91766"/>
        <a:ext cx="251139" cy="249086"/>
      </dsp:txXfrm>
    </dsp:sp>
    <dsp:sp modelId="{28A8A4C5-2FDC-4334-A895-F121A03E4422}">
      <dsp:nvSpPr>
        <dsp:cNvPr id="0" name=""/>
        <dsp:cNvSpPr/>
      </dsp:nvSpPr>
      <dsp:spPr>
        <a:xfrm>
          <a:off x="7034493" y="0"/>
          <a:ext cx="1673967" cy="432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eek 6-7 </a:t>
          </a:r>
        </a:p>
      </dsp:txBody>
      <dsp:txXfrm>
        <a:off x="7047164" y="12671"/>
        <a:ext cx="1648625" cy="40727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8D5E33-4F0B-4A27-881C-D1C9C1517AEC}">
      <dsp:nvSpPr>
        <dsp:cNvPr id="0" name=""/>
        <dsp:cNvSpPr/>
      </dsp:nvSpPr>
      <dsp:spPr>
        <a:xfrm>
          <a:off x="1866651" y="1774"/>
          <a:ext cx="2935613" cy="219137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F216D3-D4C9-4C2C-BC21-1401FC64B6FB}">
      <dsp:nvSpPr>
        <dsp:cNvPr id="0" name=""/>
        <dsp:cNvSpPr/>
      </dsp:nvSpPr>
      <dsp:spPr>
        <a:xfrm>
          <a:off x="1866651" y="2193147"/>
          <a:ext cx="2935613" cy="942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Arial" panose="020B0604020202020204"/>
            </a:rPr>
            <a:t>Technical Skills</a:t>
          </a:r>
          <a:endParaRPr lang="en-US" sz="2400" kern="1200"/>
        </a:p>
      </dsp:txBody>
      <dsp:txXfrm>
        <a:off x="1866651" y="2193147"/>
        <a:ext cx="2067333" cy="942290"/>
      </dsp:txXfrm>
    </dsp:sp>
    <dsp:sp modelId="{8C34539A-8ED6-4E0A-B894-5FECB6C65DFF}">
      <dsp:nvSpPr>
        <dsp:cNvPr id="0" name=""/>
        <dsp:cNvSpPr/>
      </dsp:nvSpPr>
      <dsp:spPr>
        <a:xfrm>
          <a:off x="4017028" y="2342821"/>
          <a:ext cx="1027464" cy="1027464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D02608-799D-4D50-A654-5D74CB290F78}">
      <dsp:nvSpPr>
        <dsp:cNvPr id="0" name=""/>
        <dsp:cNvSpPr/>
      </dsp:nvSpPr>
      <dsp:spPr>
        <a:xfrm>
          <a:off x="6083848" y="0"/>
          <a:ext cx="2935613" cy="219137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6D4943-42B8-4C47-8E3A-8E6C8B57823A}">
      <dsp:nvSpPr>
        <dsp:cNvPr id="0" name=""/>
        <dsp:cNvSpPr/>
      </dsp:nvSpPr>
      <dsp:spPr>
        <a:xfrm>
          <a:off x="6089836" y="2202928"/>
          <a:ext cx="2935613" cy="942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Soft Skills</a:t>
          </a:r>
        </a:p>
      </dsp:txBody>
      <dsp:txXfrm>
        <a:off x="6089836" y="2202928"/>
        <a:ext cx="2067333" cy="942290"/>
      </dsp:txXfrm>
    </dsp:sp>
    <dsp:sp modelId="{8148FE66-0C49-45C1-9122-1D21392B5803}">
      <dsp:nvSpPr>
        <dsp:cNvPr id="0" name=""/>
        <dsp:cNvSpPr/>
      </dsp:nvSpPr>
      <dsp:spPr>
        <a:xfrm>
          <a:off x="8548723" y="2344596"/>
          <a:ext cx="1027464" cy="1027464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9E93A8-0CDF-6F46-9D12-BC5213749B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C55C6C-ADD0-FF4A-9C85-59F68D97322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2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A24A5-CE43-6B40-B16A-DD86A6E1E3DA}" type="datetimeFigureOut">
              <a:rPr lang="en-US">
                <a:latin typeface="Arial" panose="020B0604020202020204" pitchFamily="34" charset="0"/>
              </a:rPr>
              <a:t>7/26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F47296-B732-A740-A439-624FA277C9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B5FEF3-BDA4-0C48-85D9-DC663D677D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A8CE0D-82DA-1E49-B2F1-202A9B814425}" type="slidenum">
              <a:rPr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5912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2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DA59EE93-7BCA-C948-B45E-4D9E631B51E6}" type="datetimeFigureOut">
              <a:rPr lang="en-US"/>
              <a:pPr/>
              <a:t>7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F0F09D18-EB49-094A-868B-44F9DCDBE27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293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359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317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500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197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652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8" cy="6856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D7BD9-937A-3447-938D-81FBB57291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7AA221-68AF-F347-BB20-F287D97F865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B734A5F-A7E5-A848-A6CC-C0CB798A9F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34E4551-7F63-D341-8894-8BC2AB70D3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E229F4D8-731C-1247-81D3-4646B83CDA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158232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9618A2A-DF5D-E94F-AE1B-05869B8CDF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C6DFFD-D32D-F046-95A8-4D7002C62042}"/>
              </a:ext>
            </a:extLst>
          </p:cNvPr>
          <p:cNvSpPr txBox="1"/>
          <p:nvPr userDrawn="1"/>
        </p:nvSpPr>
        <p:spPr>
          <a:xfrm>
            <a:off x="463550" y="460375"/>
            <a:ext cx="3603625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4000" b="0" i="0">
                <a:solidFill>
                  <a:schemeClr val="bg1"/>
                </a:solidFill>
                <a:latin typeface="Garamond" panose="02020404030301010803" pitchFamily="18" charset="0"/>
              </a:rPr>
              <a:t>Agenda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8F47C92-6270-F544-B541-A469D4A5DA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2"/>
            <a:ext cx="6935787" cy="234938"/>
          </a:xfrm>
        </p:spPr>
        <p:txBody>
          <a:bodyPr/>
          <a:lstStyle/>
          <a:p>
            <a:pPr lvl="8"/>
            <a:r>
              <a:rPr lang="en-US"/>
              <a:t>Compass - RCI Unified App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AFAAF2F-5C32-014B-B859-13C713ABBA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B34E8E-34B1-5048-94AE-5C770B84AE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B8C8CFC-BE13-AC4B-A5EC-B789B27C83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746" y="2336800"/>
            <a:ext cx="1497075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D5C48A9-DB02-6644-AA7A-0B977622F7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27118" y="2336800"/>
            <a:ext cx="5670695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Topic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9115212-75FE-AB42-9E22-73B8612CBD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238" y="2336800"/>
            <a:ext cx="3592841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774593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690C1FD-1E6B-BB44-8213-7BF2FC4D25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2746" y="2336800"/>
            <a:ext cx="5508954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E50D81-674E-4040-9072-21F6A9509BA9}"/>
              </a:ext>
            </a:extLst>
          </p:cNvPr>
          <p:cNvSpPr txBox="1"/>
          <p:nvPr userDrawn="1"/>
        </p:nvSpPr>
        <p:spPr>
          <a:xfrm>
            <a:off x="463550" y="460375"/>
            <a:ext cx="7510869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4000" b="0">
                <a:solidFill>
                  <a:schemeClr val="bg1"/>
                </a:solidFill>
                <a:latin typeface="Garamond" panose="02020404030301010803" pitchFamily="18" charset="0"/>
              </a:rPr>
              <a:t>Table of Content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E15E06-9D52-994F-A080-6FA9BEED59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50" y="2336800"/>
            <a:ext cx="1693863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3F9B7F-101D-4042-9754-4089F14D0D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031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48" y="0"/>
            <a:ext cx="12176128" cy="68562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F0D7B2-01C7-D843-BF02-4F657ED999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71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49" y="4465"/>
            <a:ext cx="12176126" cy="68562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EB2922-F983-7243-A523-435E555F2D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4251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725D62E-358E-F644-9F7A-8E4D8564B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4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6" y="460375"/>
            <a:ext cx="11264900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1"/>
            <a:ext cx="6935787" cy="234939"/>
          </a:xfrm>
        </p:spPr>
        <p:txBody>
          <a:bodyPr/>
          <a:lstStyle/>
          <a:p>
            <a:pPr lvl="8"/>
            <a:r>
              <a:rPr lang="en-US"/>
              <a:t>Compass - RCI Unified App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3D6E2-55E1-354D-9B33-5A200D7130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611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F911EC-0F07-C443-9215-7922DA1927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4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6" y="460375"/>
            <a:ext cx="11264900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1"/>
            <a:ext cx="6935787" cy="234939"/>
          </a:xfrm>
        </p:spPr>
        <p:txBody>
          <a:bodyPr/>
          <a:lstStyle/>
          <a:p>
            <a:pPr lvl="8"/>
            <a:r>
              <a:rPr lang="en-US"/>
              <a:t>Compass - RCI Unified App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04B519-F17C-FE49-9B1A-C9EEE429DE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6632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963" y="1565274"/>
            <a:ext cx="11263312" cy="4670426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/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  <a:lvl6pPr>
              <a:spcAft>
                <a:spcPts val="900"/>
              </a:spcAft>
              <a:defRPr/>
            </a:lvl6pPr>
            <a:lvl7pPr>
              <a:spcAft>
                <a:spcPts val="900"/>
              </a:spcAft>
              <a:defRPr/>
            </a:lvl7pPr>
            <a:lvl8pPr>
              <a:spcAft>
                <a:spcPts val="900"/>
              </a:spcAft>
              <a:defRPr/>
            </a:lvl8pPr>
            <a:lvl9pPr>
              <a:spcAft>
                <a:spcPts val="9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C47485A-0FFB-6E43-9C4B-661F7544E5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lvl="8"/>
            <a:r>
              <a:rPr lang="en-US"/>
              <a:t>Compass - RCI Unified App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A080C6C-DD3D-FE49-ACFE-18F1ACCE57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4A1257-D244-A74E-A109-73B6780C8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3053BA-ED70-EB48-98AE-BC5E471EA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47C43D2-9302-4340-936F-671BAD9988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11263312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757668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image_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7437438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2BEC4C-31C0-5C45-8EBF-3D715F38A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83CF7C-AEED-9442-BF77-97C8CDF2A7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8D69AC-1AD2-4B4F-889E-14CA97CA31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617A45A-2B90-3C40-A814-D8341AF927C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3238" y="1565275"/>
            <a:ext cx="3600450" cy="4670425"/>
          </a:xfrm>
          <a:solidFill>
            <a:schemeClr val="bg2"/>
          </a:solidFill>
        </p:spPr>
        <p:txBody>
          <a:bodyPr tIns="17373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85E63D-A9C5-214C-9EE8-8EF5B0657C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2C92AF3-CE56-204D-ADAA-C210A8935A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8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350927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7437437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64EEA21B-C8A4-CC4F-BBD2-4F30B712F0E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123238" y="1565275"/>
            <a:ext cx="3600450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99F403-8A76-3041-9EBD-D42DD6A09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63619C-DDCB-D447-AB2E-B38F2AF52D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953C7-9993-2D49-B25D-1D99D8229D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CF6235-B9A1-4C40-AE65-F2BBE0CAB7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C9D6D5D-A833-9049-810F-6E3112E2B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58620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963" y="1565274"/>
            <a:ext cx="7435849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D3F4E4CF-00FB-2840-B337-631C2E32848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123238" y="1565275"/>
            <a:ext cx="3600450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00B7BE-3463-484E-9D3C-74D6D678D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182A4F-356C-BF46-9CDC-9F4C220505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92D2-C982-9D40-9EE7-012C8B2D0F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FEEB6F-76C3-7B4A-A8FD-CBB82236CC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BCD185C-29F9-B046-A597-075B3319BE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485830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6126" cy="68562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A1D6A8-D2DB-2247-845A-4C18FB7E51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D712B30-2C20-A249-A5F8-9585689F1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36500E3-B401-FF4F-BD1E-30549750FB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6777289-C0C1-334A-8FF5-A7A32CAB86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DEF373C-B732-2A48-9C76-93B766FDAC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08D86EF2-D6FD-1342-95CE-8A4DA0BEB04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4378719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508625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03950" y="1565275"/>
            <a:ext cx="5519738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482540-A651-6644-821A-C86BE01118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49"/>
            <a:ext cx="11255375" cy="209551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1781477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comp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248203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63038" y="1565275"/>
            <a:ext cx="5260650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32C2CE8-EFEE-CD4D-9F7A-8F814C65D488}"/>
              </a:ext>
            </a:extLst>
          </p:cNvPr>
          <p:cNvGrpSpPr/>
          <p:nvPr userDrawn="1"/>
        </p:nvGrpSpPr>
        <p:grpSpPr>
          <a:xfrm>
            <a:off x="5981700" y="2300287"/>
            <a:ext cx="220916" cy="3200400"/>
            <a:chOff x="3313099" y="1275353"/>
            <a:chExt cx="220916" cy="32004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21523-0773-8448-BBE7-842B0EB85CCC}"/>
                </a:ext>
              </a:extLst>
            </p:cNvPr>
            <p:cNvCxnSpPr/>
            <p:nvPr/>
          </p:nvCxnSpPr>
          <p:spPr>
            <a:xfrm>
              <a:off x="3423557" y="1275353"/>
              <a:ext cx="0" cy="3200400"/>
            </a:xfrm>
            <a:prstGeom prst="line">
              <a:avLst/>
            </a:prstGeom>
            <a:ln w="19050" cap="rnd" cmpd="sng" algn="ctr">
              <a:solidFill>
                <a:srgbClr val="1F497D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1B7E47A-97E3-E24D-B81A-E76313621332}"/>
                </a:ext>
              </a:extLst>
            </p:cNvPr>
            <p:cNvGrpSpPr/>
            <p:nvPr/>
          </p:nvGrpSpPr>
          <p:grpSpPr>
            <a:xfrm>
              <a:off x="3313099" y="2761253"/>
              <a:ext cx="220916" cy="228601"/>
              <a:chOff x="4378684" y="648989"/>
              <a:chExt cx="244638" cy="246222"/>
            </a:xfrm>
          </p:grpSpPr>
          <p:sp>
            <p:nvSpPr>
              <p:cNvPr id="13" name="Chevron 12">
                <a:extLst>
                  <a:ext uri="{FF2B5EF4-FFF2-40B4-BE49-F238E27FC236}">
                    <a16:creationId xmlns:a16="http://schemas.microsoft.com/office/drawing/2014/main" id="{A2947867-90B1-0349-8276-C0CDD1000071}"/>
                  </a:ext>
                </a:extLst>
              </p:cNvPr>
              <p:cNvSpPr/>
              <p:nvPr/>
            </p:nvSpPr>
            <p:spPr>
              <a:xfrm>
                <a:off x="4378684" y="648990"/>
                <a:ext cx="164592" cy="246221"/>
              </a:xfrm>
              <a:prstGeom prst="chevron">
                <a:avLst/>
              </a:prstGeom>
              <a:solidFill>
                <a:srgbClr val="00539B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>
                <a:extLst>
                  <a:ext uri="{FF2B5EF4-FFF2-40B4-BE49-F238E27FC236}">
                    <a16:creationId xmlns:a16="http://schemas.microsoft.com/office/drawing/2014/main" id="{06F0CFD7-88FE-EF4A-8A44-46A3EA942967}"/>
                  </a:ext>
                </a:extLst>
              </p:cNvPr>
              <p:cNvSpPr/>
              <p:nvPr/>
            </p:nvSpPr>
            <p:spPr>
              <a:xfrm>
                <a:off x="4458730" y="648989"/>
                <a:ext cx="164592" cy="246221"/>
              </a:xfrm>
              <a:prstGeom prst="chevron">
                <a:avLst/>
              </a:prstGeom>
              <a:solidFill>
                <a:srgbClr val="429644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4CB2129-0503-DB47-90B1-AFA35A72C6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55366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814354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508625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E3EAC2-B124-7241-A76C-C15FC8C2B5D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3950" y="1565275"/>
            <a:ext cx="5521325" cy="4670425"/>
          </a:xfrm>
          <a:solidFill>
            <a:schemeClr val="bg2"/>
          </a:solidFill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7D5E30-60D9-FC42-8B8A-694A574E5E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6A4FEB-16FA-5B47-8307-522D5CCBE21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619757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D6B805C-4289-4A4F-A5CB-6D24B23192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460377"/>
            <a:ext cx="5519738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7125" y="0"/>
            <a:ext cx="5981700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6967A81-D517-014E-978A-8C749887E5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072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een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460377"/>
            <a:ext cx="5519738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7125" y="0"/>
            <a:ext cx="5981700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CCD5D-2EBA-0247-95CF-0D7D7C946A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27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1585AACF-AC15-EB44-8BF3-EECB215C745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7125" y="1565275"/>
            <a:ext cx="5516563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B9485F-2504-DB4F-8986-733F6BB66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4FED05-9541-9E43-A9E9-F7AF320205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07E0CD-95EC-D64B-A5B4-7E6A4305F3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ADDD1B-B2E0-484A-BC70-D63ABDE0D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AFEAAA4-A6C0-524F-B014-1359A37D24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793070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A405BF37-0F3C-A14F-A431-C0CF9B469A56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03950" y="1565275"/>
            <a:ext cx="5519737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9980FA-94D4-B744-940F-1762A1F81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894DC5-8B7A-D745-80AC-D8096EFBBC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CDEB6-DE13-5C42-9BA8-E0881A57A4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2219F4-1FA5-1F4B-BD74-14CB3B45A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8FD6382-9987-AD42-A0B6-F99B6DBA1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269917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3606800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58796C-0900-9A45-8B99-F3286607B6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7363" y="1565274"/>
            <a:ext cx="3600450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10CEEE-44F4-A94D-887C-4BA6F4BD9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8000" y="1565274"/>
            <a:ext cx="3595687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941B34-2ABC-8743-A1B0-F7820104D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3536D-2915-5449-B38E-6C7E34FF6BC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C7ADC-D6FA-FF4F-B56A-83A137D172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D9A816-8860-4448-B961-A8AB4320C3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8B7C91C-6D62-514E-9084-FFFBBCE368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28700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image_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565275"/>
            <a:ext cx="12188825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7CDC3E-AEFF-D84C-B380-C06A705ED7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750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375" y="1565275"/>
            <a:ext cx="5521326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1A70471A-2483-834A-B4BF-95CCD4F1DDD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7125" y="1565275"/>
            <a:ext cx="5518148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37716F-CBF0-6B4A-95C1-AFC870CA0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30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0716D8-B44F-884B-A9C2-459621A713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8630CEA-3BC3-674A-A438-E4F13669E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9D10881B-E781-464A-8D32-6F707C3C6D6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852294-8A40-1643-8A3B-5520E6DFE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032338B-F8E0-4044-8B4C-F54D010E19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E2D18890-15E5-4E4B-8383-9AD0C85EDA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9375715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2745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385124E6-D0F8-E744-B48A-D494C141D1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6402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6D8DB38B-B21C-F94B-A5B0-E4433CE3884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0843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A90363-822A-4646-9C56-179327AD3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34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1962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E2D3C67-CB50-4444-AC96-54ECF13E9C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1010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28E25CCF-07B7-A64E-83A7-2424DA42625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238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35C026E3-1BC8-C24D-A450-AC969ABE64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1962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A785BD7F-3209-CB4A-92CB-453DC13D14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91010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7A901A0-E124-4641-8B3C-E8E4439FBA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3238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92BA57-38CF-8549-8F46-F016D52EF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3669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eadline_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210939-2A1A-454B-A3D3-B5845856E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E17F03-CAA6-274E-B747-6A10AA0179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6CD19-27E7-6640-8910-B592B689E4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A67DD1-C81D-E44B-ABB6-FCA117927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C3A12C-4C53-C643-B254-4134FB831E2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6217398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008E4-D386-B847-8C40-B238AEF168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D2486B-E4E0-864C-AD6A-844984E8A9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4D84B2-13D9-5447-A260-C7C343880A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251CD-879C-8D48-9F0E-C31C0F2CC4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6390933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F3915E5-4626-8746-AF40-A01779F84E2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" y="0"/>
            <a:ext cx="12188824" cy="6858000"/>
          </a:xfrm>
          <a:prstGeom prst="rect">
            <a:avLst/>
          </a:prstGeom>
          <a:solidFill>
            <a:schemeClr val="tx1"/>
          </a:solidFill>
        </p:spPr>
        <p:txBody>
          <a:bodyPr tIns="265176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9310995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691" y="4465"/>
            <a:ext cx="12163442" cy="684907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26519AA-886C-374C-9E64-EA02923C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801889-E475-414D-B7B7-3802EF0FF7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ss - RCI Unified Ap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AD9C9-4173-A847-A399-5D48DC63E0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17DF63-B4B0-374C-A4C8-2FE7BBD2D4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1762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8" cy="6856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D7BD9-937A-3447-938D-81FBB57291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7AA221-68AF-F347-BB20-F287D97F865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B734A5F-A7E5-A848-A6CC-C0CB798A9F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34E4551-7F63-D341-8894-8BC2AB70D3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E229F4D8-731C-1247-81D3-4646B83CDA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1582327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6126" cy="68562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A1D6A8-D2DB-2247-845A-4C18FB7E51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D712B30-2C20-A249-A5F8-9585689F1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36500E3-B401-FF4F-BD1E-30549750FB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6777289-C0C1-334A-8FF5-A7A32CAB86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DEF373C-B732-2A48-9C76-93B766FDAC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08D86EF2-D6FD-1342-95CE-8A4DA0BEB04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4378719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0716D8-B44F-884B-A9C2-459621A713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8630CEA-3BC3-674A-A438-E4F13669E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9D10881B-E781-464A-8D32-6F707C3C6D6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5852294-8A40-1643-8A3B-5520E6DFE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032338B-F8E0-4044-8B4C-F54D010E19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E2D18890-15E5-4E4B-8383-9AD0C85EDA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937571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15F7A6-3594-E34F-96EB-8292BF5E70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3D26F65-2984-1045-9680-19A2259D3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B1BBA5A-5A14-2640-B971-139793DB87F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F458B4C-DBA6-9343-9258-50EDC349B2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E7DC346-2044-1044-A5F1-36F2BEA8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9BB1668B-BD32-C543-80AD-FA0C5B4F83E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217294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15F7A6-3594-E34F-96EB-8292BF5E70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3D26F65-2984-1045-9680-19A2259D3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B1BBA5A-5A14-2640-B971-139793DB87F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F458B4C-DBA6-9343-9258-50EDC349B2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E7DC346-2044-1044-A5F1-36F2BEA8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9BB1668B-BD32-C543-80AD-FA0C5B4F83E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2172949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A19225-5402-B849-995F-9CD3FE9049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9184965-CABD-DB48-A360-15AEC4A78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C81F733-E682-9C47-9564-D92C6673AA3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5A27F00-3E27-E442-8CF0-75A1B044ED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5682AEB-36DF-2849-AA6C-FCE046C61C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DA999F10-3709-AF49-8FD7-3460F211BB8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8934921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C88E1B-A6D4-AE4B-A631-6E8AF50BA3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6B9DFE4-4BF3-C045-AC8D-11F40807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40BFCFCA-0B5A-B543-B3B4-2C8734AA2D0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EC8D705-1A7D-F646-AAEA-A7B4D2233A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4AFAE45-CC4B-9844-8B19-2553C36290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DF2BA94C-1AEC-C84F-91A2-F6196360B83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142731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52CB6F-F70F-974E-BEBD-CDD81D14E9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1ED60FB-0446-4047-870C-2D5AEEE71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4C80946-C36E-5E4B-853D-652CBD1435A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8A47AD-ABE2-4048-BE87-686B4B35A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E68F28F-6C82-7146-ADB0-30248C24F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60FCFDE9-3B3E-E041-AE50-7829A874098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5877751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6D06F3-6EE5-6A4F-88B6-06A99919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5DD66D4-1403-4046-BF2A-6F7ABB701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F10B353-F73E-1A44-8570-5FB53829168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0AF35BE-2C5D-B74E-8883-D6C4B19C61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AD31511-3DA5-BD4C-8DF9-82E01E444F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7BDBDFD7-014F-5B4B-A59C-BFFE2E3FEC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0644904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B1931B-4DAA-B94A-8CE6-18C54E1C5A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BEE3760-BA92-6044-9EDB-4EE48B1AB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86941BE-94A3-8E45-B4FC-DEBB6D466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4522E7B-9AC7-9547-85E6-CD5A41A4D9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7E010F64-5C6D-7249-A211-796843E918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84C5C7F2-0396-2D40-8B33-B360F1E53609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52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9618A2A-DF5D-E94F-AE1B-05869B8CDF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C6DFFD-D32D-F046-95A8-4D7002C62042}"/>
              </a:ext>
            </a:extLst>
          </p:cNvPr>
          <p:cNvSpPr txBox="1"/>
          <p:nvPr userDrawn="1"/>
        </p:nvSpPr>
        <p:spPr>
          <a:xfrm>
            <a:off x="463550" y="460375"/>
            <a:ext cx="3603625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4000" b="0" i="0">
                <a:solidFill>
                  <a:schemeClr val="bg1"/>
                </a:solidFill>
                <a:latin typeface="Garamond" panose="02020404030301010803" pitchFamily="18" charset="0"/>
              </a:rPr>
              <a:t>Agenda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8F47C92-6270-F544-B541-A469D4A5DA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2"/>
            <a:ext cx="6935787" cy="234938"/>
          </a:xfrm>
        </p:spPr>
        <p:txBody>
          <a:bodyPr/>
          <a:lstStyle/>
          <a:p>
            <a:pPr lvl="8"/>
            <a:r>
              <a:rPr lang="en-US"/>
              <a:t>KEY -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AFAAF2F-5C32-014B-B859-13C713ABBA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B34E8E-34B1-5048-94AE-5C770B84AE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B8C8CFC-BE13-AC4B-A5EC-B789B27C83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746" y="2336800"/>
            <a:ext cx="1497075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D5C48A9-DB02-6644-AA7A-0B977622F7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27118" y="2336800"/>
            <a:ext cx="5670695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Topic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9115212-75FE-AB42-9E22-73B8612CBD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238" y="2336800"/>
            <a:ext cx="3592841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7745934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690C1FD-1E6B-BB44-8213-7BF2FC4D25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2746" y="2336800"/>
            <a:ext cx="5508954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E50D81-674E-4040-9072-21F6A9509BA9}"/>
              </a:ext>
            </a:extLst>
          </p:cNvPr>
          <p:cNvSpPr txBox="1"/>
          <p:nvPr userDrawn="1"/>
        </p:nvSpPr>
        <p:spPr>
          <a:xfrm>
            <a:off x="463550" y="460375"/>
            <a:ext cx="7510869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4000" b="0">
                <a:solidFill>
                  <a:schemeClr val="bg1"/>
                </a:solidFill>
                <a:latin typeface="Garamond" panose="02020404030301010803" pitchFamily="18" charset="0"/>
              </a:rPr>
              <a:t>Table of Content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E15E06-9D52-994F-A080-6FA9BEED59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50" y="2336800"/>
            <a:ext cx="1693863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  <a:p>
            <a:pPr lvl="0"/>
            <a:r>
              <a:rPr lang="en-US"/>
              <a:t>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3F9B7F-101D-4042-9754-4089F14D0D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031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48" y="0"/>
            <a:ext cx="12176128" cy="68562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F0D7B2-01C7-D843-BF02-4F657ED999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716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49" y="4465"/>
            <a:ext cx="12176126" cy="68562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EB2922-F983-7243-A523-435E555F2D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4251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725D62E-358E-F644-9F7A-8E4D8564B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4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6" y="460375"/>
            <a:ext cx="11264900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1"/>
            <a:ext cx="6935787" cy="234939"/>
          </a:xfrm>
        </p:spPr>
        <p:txBody>
          <a:bodyPr/>
          <a:lstStyle/>
          <a:p>
            <a:pPr lvl="8"/>
            <a:r>
              <a:rPr lang="en-US"/>
              <a:t>KEY -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3D6E2-55E1-354D-9B33-5A200D7130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611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A19225-5402-B849-995F-9CD3FE9049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9184965-CABD-DB48-A360-15AEC4A78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C81F733-E682-9C47-9564-D92C6673AA3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5A27F00-3E27-E442-8CF0-75A1B044ED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5682AEB-36DF-2849-AA6C-FCE046C61C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DA999F10-3709-AF49-8FD7-3460F211BB8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8934921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F911EC-0F07-C443-9215-7922DA1927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4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6" y="460375"/>
            <a:ext cx="11264900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7363" y="6432561"/>
            <a:ext cx="6935787" cy="234939"/>
          </a:xfrm>
        </p:spPr>
        <p:txBody>
          <a:bodyPr/>
          <a:lstStyle/>
          <a:p>
            <a:pPr lvl="8"/>
            <a:r>
              <a:rPr lang="en-US"/>
              <a:t>KEY -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04B519-F17C-FE49-9B1A-C9EEE429DE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6632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963" y="1565274"/>
            <a:ext cx="11263312" cy="4670426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/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  <a:lvl6pPr>
              <a:spcAft>
                <a:spcPts val="900"/>
              </a:spcAft>
              <a:defRPr/>
            </a:lvl6pPr>
            <a:lvl7pPr>
              <a:spcAft>
                <a:spcPts val="900"/>
              </a:spcAft>
              <a:defRPr/>
            </a:lvl7pPr>
            <a:lvl8pPr>
              <a:spcAft>
                <a:spcPts val="900"/>
              </a:spcAft>
              <a:defRPr/>
            </a:lvl8pPr>
            <a:lvl9pPr>
              <a:spcAft>
                <a:spcPts val="9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C47485A-0FFB-6E43-9C4B-661F7544E5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lvl="8"/>
            <a:r>
              <a:rPr lang="en-US"/>
              <a:t>KEY -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A080C6C-DD3D-FE49-ACFE-18F1ACCE57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4A1257-D244-A74E-A109-73B6780C8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3053BA-ED70-EB48-98AE-BC5E471EA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47C43D2-9302-4340-936F-671BAD9988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11263312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7576682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image_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7437438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2BEC4C-31C0-5C45-8EBF-3D715F38A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83CF7C-AEED-9442-BF77-97C8CDF2A7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8D69AC-1AD2-4B4F-889E-14CA97CA31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617A45A-2B90-3C40-A814-D8341AF927C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3238" y="1565275"/>
            <a:ext cx="3600450" cy="4670425"/>
          </a:xfrm>
          <a:solidFill>
            <a:schemeClr val="bg2"/>
          </a:solidFill>
        </p:spPr>
        <p:txBody>
          <a:bodyPr tIns="17373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85E63D-A9C5-214C-9EE8-8EF5B0657C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2C92AF3-CE56-204D-ADAA-C210A8935A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8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350927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7437437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64EEA21B-C8A4-CC4F-BBD2-4F30B712F0E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123238" y="1565275"/>
            <a:ext cx="3600450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99F403-8A76-3041-9EBD-D42DD6A09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63619C-DDCB-D447-AB2E-B38F2AF52D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953C7-9993-2D49-B25D-1D99D8229D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CF6235-B9A1-4C40-AE65-F2BBE0CAB7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C9D6D5D-A833-9049-810F-6E3112E2B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58620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963" y="1565274"/>
            <a:ext cx="7435849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D3F4E4CF-00FB-2840-B337-631C2E32848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123238" y="1565275"/>
            <a:ext cx="3600450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00B7BE-3463-484E-9D3C-74D6D678D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182A4F-356C-BF46-9CDC-9F4C220505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92D2-C982-9D40-9EE7-012C8B2D0F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FEEB6F-76C3-7B4A-A8FD-CBB82236CC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BCD185C-29F9-B046-A597-075B3319BE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375" y="6026150"/>
            <a:ext cx="743743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4858308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508625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03950" y="1565275"/>
            <a:ext cx="5519738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482540-A651-6644-821A-C86BE01118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49"/>
            <a:ext cx="11255375" cy="209551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1781477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comp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248203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63038" y="1565275"/>
            <a:ext cx="5260650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32C2CE8-EFEE-CD4D-9F7A-8F814C65D488}"/>
              </a:ext>
            </a:extLst>
          </p:cNvPr>
          <p:cNvGrpSpPr/>
          <p:nvPr userDrawn="1"/>
        </p:nvGrpSpPr>
        <p:grpSpPr>
          <a:xfrm>
            <a:off x="5981700" y="2300287"/>
            <a:ext cx="220916" cy="3200400"/>
            <a:chOff x="3313099" y="1275353"/>
            <a:chExt cx="220916" cy="32004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21523-0773-8448-BBE7-842B0EB85CCC}"/>
                </a:ext>
              </a:extLst>
            </p:cNvPr>
            <p:cNvCxnSpPr/>
            <p:nvPr/>
          </p:nvCxnSpPr>
          <p:spPr>
            <a:xfrm>
              <a:off x="3423557" y="1275353"/>
              <a:ext cx="0" cy="3200400"/>
            </a:xfrm>
            <a:prstGeom prst="line">
              <a:avLst/>
            </a:prstGeom>
            <a:ln w="19050" cap="rnd" cmpd="sng" algn="ctr">
              <a:solidFill>
                <a:srgbClr val="1F497D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1B7E47A-97E3-E24D-B81A-E76313621332}"/>
                </a:ext>
              </a:extLst>
            </p:cNvPr>
            <p:cNvGrpSpPr/>
            <p:nvPr/>
          </p:nvGrpSpPr>
          <p:grpSpPr>
            <a:xfrm>
              <a:off x="3313099" y="2761253"/>
              <a:ext cx="220916" cy="228601"/>
              <a:chOff x="4378684" y="648989"/>
              <a:chExt cx="244638" cy="246222"/>
            </a:xfrm>
          </p:grpSpPr>
          <p:sp>
            <p:nvSpPr>
              <p:cNvPr id="13" name="Chevron 12">
                <a:extLst>
                  <a:ext uri="{FF2B5EF4-FFF2-40B4-BE49-F238E27FC236}">
                    <a16:creationId xmlns:a16="http://schemas.microsoft.com/office/drawing/2014/main" id="{A2947867-90B1-0349-8276-C0CDD1000071}"/>
                  </a:ext>
                </a:extLst>
              </p:cNvPr>
              <p:cNvSpPr/>
              <p:nvPr/>
            </p:nvSpPr>
            <p:spPr>
              <a:xfrm>
                <a:off x="4378684" y="648990"/>
                <a:ext cx="164592" cy="246221"/>
              </a:xfrm>
              <a:prstGeom prst="chevron">
                <a:avLst/>
              </a:prstGeom>
              <a:solidFill>
                <a:srgbClr val="00539B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>
                <a:extLst>
                  <a:ext uri="{FF2B5EF4-FFF2-40B4-BE49-F238E27FC236}">
                    <a16:creationId xmlns:a16="http://schemas.microsoft.com/office/drawing/2014/main" id="{06F0CFD7-88FE-EF4A-8A44-46A3EA942967}"/>
                  </a:ext>
                </a:extLst>
              </p:cNvPr>
              <p:cNvSpPr/>
              <p:nvPr/>
            </p:nvSpPr>
            <p:spPr>
              <a:xfrm>
                <a:off x="4458730" y="648989"/>
                <a:ext cx="164592" cy="246221"/>
              </a:xfrm>
              <a:prstGeom prst="chevron">
                <a:avLst/>
              </a:prstGeom>
              <a:solidFill>
                <a:srgbClr val="429644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4CB2129-0503-DB47-90B1-AFA35A72C6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55366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8143541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075" y="1565275"/>
            <a:ext cx="5508625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E3EAC2-B124-7241-A76C-C15FC8C2B5D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3950" y="1565275"/>
            <a:ext cx="5521325" cy="4670425"/>
          </a:xfrm>
          <a:solidFill>
            <a:schemeClr val="bg2"/>
          </a:solidFill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7D5E30-60D9-FC42-8B8A-694A574E5E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6A4FEB-16FA-5B47-8307-522D5CCBE21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619757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D6B805C-4289-4A4F-A5CB-6D24B23192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460377"/>
            <a:ext cx="5519738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7125" y="0"/>
            <a:ext cx="5981700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6967A81-D517-014E-978A-8C749887E5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072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een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4466"/>
            <a:ext cx="12176124" cy="685621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460377"/>
            <a:ext cx="5519738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7125" y="0"/>
            <a:ext cx="5981700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CCD5D-2EBA-0247-95CF-0D7D7C946A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27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C88E1B-A6D4-AE4B-A631-6E8AF50BA3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6B9DFE4-4BF3-C045-AC8D-11F40807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40BFCFCA-0B5A-B543-B3B4-2C8734AA2D0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EC8D705-1A7D-F646-AAEA-A7B4D2233A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4AFAE45-CC4B-9844-8B19-2553C36290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DF2BA94C-1AEC-C84F-91A2-F6196360B83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1427316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1585AACF-AC15-EB44-8BF3-EECB215C745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7125" y="1565275"/>
            <a:ext cx="5516563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B9485F-2504-DB4F-8986-733F6BB66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4FED05-9541-9E43-A9E9-F7AF320205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07E0CD-95EC-D64B-A5B4-7E6A4305F3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ADDD1B-B2E0-484A-BC70-D63ABDE0D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AFEAAA4-A6C0-524F-B014-1359A37D24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7930704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5521325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A405BF37-0F3C-A14F-A431-C0CF9B469A56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03950" y="1565275"/>
            <a:ext cx="5519737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9980FA-94D4-B744-940F-1762A1F81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894DC5-8B7A-D745-80AC-D8096EFBBC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CDEB6-DE13-5C42-9BA8-E0881A57A4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2219F4-1FA5-1F4B-BD74-14CB3B45A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8FD6382-9987-AD42-A0B6-F99B6DBA1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552132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269917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75" y="1565274"/>
            <a:ext cx="3606800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58796C-0900-9A45-8B99-F3286607B6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7363" y="1565274"/>
            <a:ext cx="3600450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10CEEE-44F4-A94D-887C-4BA6F4BD9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8000" y="1565274"/>
            <a:ext cx="3595687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941B34-2ABC-8743-A1B0-F7820104D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3536D-2915-5449-B38E-6C7E34FF6BC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C7ADC-D6FA-FF4F-B56A-83A137D172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D9A816-8860-4448-B961-A8AB4320C3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8B7C91C-6D62-514E-9084-FFFBBCE368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4287009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image_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565275"/>
            <a:ext cx="12188825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7CDC3E-AEFF-D84C-B380-C06A705ED7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750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375" y="1565275"/>
            <a:ext cx="5521326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1A70471A-2483-834A-B4BF-95CCD4F1DDD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7125" y="1565275"/>
            <a:ext cx="5518148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37716F-CBF0-6B4A-95C1-AFC870CA0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304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2745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385124E6-D0F8-E744-B48A-D494C141D1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6402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6D8DB38B-B21C-F94B-A5B0-E4433CE3884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0843" y="1565275"/>
            <a:ext cx="359443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A90363-822A-4646-9C56-179327AD3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349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1962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E2D3C67-CB50-4444-AC96-54ECF13E9C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1010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28E25CCF-07B7-A64E-83A7-2424DA42625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238" y="1565276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35C026E3-1BC8-C24D-A450-AC969ABE64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1962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A785BD7F-3209-CB4A-92CB-453DC13D14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91010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7A901A0-E124-4641-8B3C-E8E4439FBA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3238" y="4018191"/>
            <a:ext cx="3605213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92BA57-38CF-8549-8F46-F016D52EF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3669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eadline_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210939-2A1A-454B-A3D3-B5845856E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E17F03-CAA6-274E-B747-6A10AA0179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6CD19-27E7-6640-8910-B592B689E4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A67DD1-C81D-E44B-ABB6-FCA117927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C3A12C-4C53-C643-B254-4134FB831E2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6217398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008E4-D386-B847-8C40-B238AEF168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D2486B-E4E0-864C-AD6A-844984E8A9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4D84B2-13D9-5447-A260-C7C343880A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251CD-879C-8D48-9F0E-C31C0F2CC4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375" y="6026150"/>
            <a:ext cx="1126331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6390933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F3915E5-4626-8746-AF40-A01779F84E2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" y="0"/>
            <a:ext cx="12188824" cy="6858000"/>
          </a:xfrm>
          <a:prstGeom prst="rect">
            <a:avLst/>
          </a:prstGeom>
          <a:solidFill>
            <a:schemeClr val="tx1"/>
          </a:solidFill>
        </p:spPr>
        <p:txBody>
          <a:bodyPr tIns="265176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931099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52CB6F-F70F-974E-BEBD-CDD81D14E9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1ED60FB-0446-4047-870C-2D5AEEE71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4C80946-C36E-5E4B-853D-652CBD1435A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8A47AD-ABE2-4048-BE87-686B4B35A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E68F28F-6C82-7146-ADB0-30248C24F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60FCFDE9-3B3E-E041-AE50-7829A874098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5877751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691" y="4465"/>
            <a:ext cx="12163442" cy="684907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26519AA-886C-374C-9E64-EA02923C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4" y="1565275"/>
            <a:ext cx="7435850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801889-E475-414D-B7B7-3802EF0FF7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 -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AD9C9-4173-A847-A399-5D48DC63E0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17DF63-B4B0-374C-A4C8-2FE7BBD2D4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745" y="6412434"/>
            <a:ext cx="149707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176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6D06F3-6EE5-6A4F-88B6-06A99919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5DD66D4-1403-4046-BF2A-6F7ABB701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F10B353-F73E-1A44-8570-5FB53829168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0AF35BE-2C5D-B74E-8883-D6C4B19C61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AD31511-3DA5-BD4C-8DF9-82E01E444F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7BDBDFD7-014F-5B4B-A59C-BFFE2E3FEC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0644904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8" y="0"/>
            <a:ext cx="12176126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B1931B-4DAA-B94A-8CE6-18C54E1C5A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358" y="480762"/>
            <a:ext cx="2430888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BEE3760-BA92-6044-9EDB-4EE48B1AB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0"/>
            <a:ext cx="5524499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86941BE-94A3-8E45-B4FC-DEBB6D466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374" y="5501148"/>
            <a:ext cx="5521325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16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4522E7B-9AC7-9547-85E6-CD5A41A4D9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09603"/>
            <a:ext cx="5524500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+mn-lt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entity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7E010F64-5C6D-7249-A211-796843E918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358" y="460375"/>
            <a:ext cx="2430888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lead brand or delete box for default logo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84C5C7F2-0396-2D40-8B33-B360F1E53609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612" y="6026150"/>
            <a:ext cx="5526087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+mn-lt"/>
              </a:defRPr>
            </a:lvl1pPr>
            <a:lvl2pPr marL="0">
              <a:defRPr sz="1600" b="0" i="0">
                <a:solidFill>
                  <a:schemeClr val="accent2"/>
                </a:solidFill>
                <a:latin typeface="+mn-lt"/>
              </a:defRPr>
            </a:lvl2pPr>
            <a:lvl3pPr marL="0">
              <a:defRPr sz="1600" b="0" i="0">
                <a:solidFill>
                  <a:schemeClr val="accent2"/>
                </a:solidFill>
                <a:latin typeface="+mn-lt"/>
              </a:defRPr>
            </a:lvl3pPr>
            <a:lvl4pPr marL="0">
              <a:defRPr sz="1600" b="0" i="0">
                <a:solidFill>
                  <a:schemeClr val="accent2"/>
                </a:solidFill>
                <a:latin typeface="+mn-lt"/>
              </a:defRPr>
            </a:lvl4pPr>
            <a:lvl5pPr marL="0">
              <a:defRPr sz="1600" b="0" i="0">
                <a:solidFill>
                  <a:schemeClr val="accent2"/>
                </a:solidFill>
                <a:latin typeface="+mn-lt"/>
              </a:defRPr>
            </a:lvl5pPr>
            <a:lvl6pPr marL="0">
              <a:defRPr sz="1600" b="0" i="0">
                <a:solidFill>
                  <a:schemeClr val="accent2"/>
                </a:solidFill>
                <a:latin typeface="+mn-lt"/>
              </a:defRPr>
            </a:lvl6pPr>
            <a:lvl7pPr marL="0">
              <a:defRPr sz="1600" b="0" i="0">
                <a:solidFill>
                  <a:schemeClr val="accent2"/>
                </a:solidFill>
                <a:latin typeface="+mn-lt"/>
              </a:defRPr>
            </a:lvl7pPr>
            <a:lvl8pPr marL="0">
              <a:defRPr sz="1600">
                <a:solidFill>
                  <a:schemeClr val="accent2"/>
                </a:solidFill>
                <a:latin typeface="+mn-lt"/>
              </a:defRPr>
            </a:lvl8pPr>
            <a:lvl9pPr marL="0">
              <a:defRPr sz="1600" b="0" i="0">
                <a:solidFill>
                  <a:schemeClr val="accent2"/>
                </a:solidFill>
                <a:latin typeface="+mn-lt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526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B8C773-5BC3-C84A-9D0E-9A61EA940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460377"/>
            <a:ext cx="11263311" cy="876299"/>
          </a:xfrm>
          <a:prstGeom prst="rect">
            <a:avLst/>
          </a:prstGeom>
        </p:spPr>
        <p:txBody>
          <a:bodyPr vert="horz" lIns="0" tIns="0" rIns="182880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3B854-2C83-5047-BB3A-DDA609150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7363" y="6432561"/>
            <a:ext cx="6935787" cy="234939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lvl1pPr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1pPr>
            <a:lvl2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2pPr>
            <a:lvl3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3pPr>
            <a:lvl4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4pPr>
            <a:lvl5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5pPr>
            <a:lvl6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6pPr>
            <a:lvl7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7pPr>
            <a:lvl8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8pPr>
            <a:lvl9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9pPr>
          </a:lstStyle>
          <a:p>
            <a:r>
              <a:rPr lang="en-US"/>
              <a:t>Compass - RCI Unified Ap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778AD5-8EBC-D94E-98B2-20AFAF1B4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32562"/>
            <a:ext cx="492123" cy="2319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0" i="0">
                <a:solidFill>
                  <a:schemeClr val="accent1"/>
                </a:solidFill>
                <a:latin typeface="+mn-lt"/>
              </a:defRPr>
            </a:lvl1pPr>
            <a:lvl2pPr marL="0" algn="r">
              <a:defRPr sz="1000" b="0" i="0">
                <a:solidFill>
                  <a:schemeClr val="accent1"/>
                </a:solidFill>
                <a:latin typeface="+mn-lt"/>
              </a:defRPr>
            </a:lvl2pPr>
            <a:lvl3pPr marL="0" algn="r">
              <a:defRPr sz="1000" b="0" i="0">
                <a:solidFill>
                  <a:schemeClr val="accent1"/>
                </a:solidFill>
                <a:latin typeface="+mn-lt"/>
              </a:defRPr>
            </a:lvl3pPr>
            <a:lvl4pPr marL="0" algn="r">
              <a:defRPr sz="1000" b="0" i="0">
                <a:solidFill>
                  <a:schemeClr val="accent1"/>
                </a:solidFill>
                <a:latin typeface="+mn-lt"/>
              </a:defRPr>
            </a:lvl4pPr>
            <a:lvl5pPr marL="0" algn="r">
              <a:defRPr sz="1000" b="0" i="0">
                <a:solidFill>
                  <a:schemeClr val="accent1"/>
                </a:solidFill>
                <a:latin typeface="+mn-lt"/>
              </a:defRPr>
            </a:lvl5pPr>
            <a:lvl6pPr marL="0" algn="r">
              <a:defRPr sz="1000" b="0" i="0">
                <a:solidFill>
                  <a:schemeClr val="accent1"/>
                </a:solidFill>
                <a:latin typeface="+mn-lt"/>
              </a:defRPr>
            </a:lvl6pPr>
            <a:lvl7pPr marL="0" algn="r">
              <a:defRPr sz="1000" b="0" i="0">
                <a:solidFill>
                  <a:schemeClr val="accent1"/>
                </a:solidFill>
                <a:latin typeface="+mn-lt"/>
              </a:defRPr>
            </a:lvl7pPr>
            <a:lvl8pPr marL="0" algn="r">
              <a:defRPr sz="1000" b="0" i="0">
                <a:solidFill>
                  <a:schemeClr val="accent1"/>
                </a:solidFill>
                <a:latin typeface="+mn-lt"/>
              </a:defRPr>
            </a:lvl8pPr>
            <a:lvl9pPr marL="0" algn="r">
              <a:defRPr sz="1000" b="0" i="0">
                <a:solidFill>
                  <a:schemeClr val="accent1"/>
                </a:solidFill>
                <a:latin typeface="+mn-lt"/>
              </a:defRPr>
            </a:lvl9pPr>
          </a:lstStyle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2DAC7F-B661-E945-A498-BFF0DDB59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1962" y="1568450"/>
            <a:ext cx="11263313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195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44" r:id="rId8"/>
    <p:sldLayoutId id="2147483745" r:id="rId9"/>
    <p:sldLayoutId id="2147483702" r:id="rId10"/>
    <p:sldLayoutId id="2147483747" r:id="rId11"/>
    <p:sldLayoutId id="2147483658" r:id="rId12"/>
    <p:sldLayoutId id="2147483737" r:id="rId13"/>
    <p:sldLayoutId id="2147483673" r:id="rId14"/>
    <p:sldLayoutId id="2147483738" r:id="rId15"/>
    <p:sldLayoutId id="2147483651" r:id="rId16"/>
    <p:sldLayoutId id="2147483718" r:id="rId17"/>
    <p:sldLayoutId id="2147483722" r:id="rId18"/>
    <p:sldLayoutId id="2147483723" r:id="rId19"/>
    <p:sldLayoutId id="2147483652" r:id="rId20"/>
    <p:sldLayoutId id="2147483748" r:id="rId21"/>
    <p:sldLayoutId id="2147483746" r:id="rId22"/>
    <p:sldLayoutId id="2147483739" r:id="rId23"/>
    <p:sldLayoutId id="2147483743" r:id="rId24"/>
    <p:sldLayoutId id="2147483724" r:id="rId25"/>
    <p:sldLayoutId id="2147483725" r:id="rId26"/>
    <p:sldLayoutId id="2147483663" r:id="rId27"/>
    <p:sldLayoutId id="2147483730" r:id="rId28"/>
    <p:sldLayoutId id="2147483740" r:id="rId29"/>
    <p:sldLayoutId id="2147483741" r:id="rId30"/>
    <p:sldLayoutId id="2147483742" r:id="rId31"/>
    <p:sldLayoutId id="2147483664" r:id="rId32"/>
    <p:sldLayoutId id="2147483665" r:id="rId33"/>
    <p:sldLayoutId id="2147483666" r:id="rId34"/>
    <p:sldLayoutId id="2147483713" r:id="rId35"/>
  </p:sldLayoutIdLst>
  <p:hf hdr="0" dt="0"/>
  <p:txStyles>
    <p:titleStyle>
      <a:lvl1pPr algn="l" defTabSz="914309" rtl="0" eaLnBrk="1" latinLnBrk="0" hangingPunct="1">
        <a:lnSpc>
          <a:spcPts val="3400"/>
        </a:lnSpc>
        <a:spcBef>
          <a:spcPct val="0"/>
        </a:spcBef>
        <a:buNone/>
        <a:defRPr sz="3400" b="0" i="0" kern="1200" cap="none" baseline="0">
          <a:solidFill>
            <a:schemeClr val="accent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Tx/>
        <a:buSzTx/>
        <a:buFont typeface="+mj-lt"/>
        <a:buNone/>
        <a:tabLst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1pPr>
      <a:lvl2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tx2"/>
        </a:buClr>
        <a:buSzTx/>
        <a:buFont typeface="+mj-lt"/>
        <a:buNone/>
        <a:tabLst/>
        <a:defRPr sz="2000" b="1" i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285750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3pPr>
      <a:lvl4pPr marL="514327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Courier New" panose="02070309020205020404" pitchFamily="49" charset="0"/>
        <a:buChar char="o"/>
        <a:tabLst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4pPr>
      <a:lvl5pPr marL="342922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5pPr>
      <a:lvl6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6pPr>
      <a:lvl7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7pPr>
      <a:lvl8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8pPr>
      <a:lvl9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pos="3908" userDrawn="1">
          <p15:clr>
            <a:srgbClr val="F26B43"/>
          </p15:clr>
        </p15:guide>
        <p15:guide id="18" pos="7385" userDrawn="1">
          <p15:clr>
            <a:srgbClr val="F26B43"/>
          </p15:clr>
        </p15:guide>
        <p15:guide id="19" orient="horz" pos="986" userDrawn="1">
          <p15:clr>
            <a:srgbClr val="F26B43"/>
          </p15:clr>
        </p15:guide>
        <p15:guide id="20" orient="horz" pos="4200" userDrawn="1">
          <p15:clr>
            <a:srgbClr val="F26B43"/>
          </p15:clr>
        </p15:guide>
        <p15:guide id="21" orient="horz" pos="4050" userDrawn="1">
          <p15:clr>
            <a:srgbClr val="F26B43"/>
          </p15:clr>
        </p15:guide>
        <p15:guide id="22" orient="horz" pos="842" userDrawn="1">
          <p15:clr>
            <a:srgbClr val="F26B43"/>
          </p15:clr>
        </p15:guide>
        <p15:guide id="23" pos="3768" userDrawn="1">
          <p15:clr>
            <a:srgbClr val="F26B43"/>
          </p15:clr>
        </p15:guide>
        <p15:guide id="24" pos="3839" userDrawn="1">
          <p15:clr>
            <a:srgbClr val="F26B43"/>
          </p15:clr>
        </p15:guide>
        <p15:guide id="25" orient="horz" pos="3928" userDrawn="1">
          <p15:clr>
            <a:srgbClr val="F26B43"/>
          </p15:clr>
        </p15:guide>
        <p15:guide id="26" orient="horz" pos="290" userDrawn="1">
          <p15:clr>
            <a:srgbClr val="F26B43"/>
          </p15:clr>
        </p15:guide>
        <p15:guide id="27" pos="290" userDrawn="1">
          <p15:clr>
            <a:srgbClr val="F26B43"/>
          </p15:clr>
        </p15:guide>
        <p15:guide id="32" pos="2707" userDrawn="1">
          <p15:clr>
            <a:srgbClr val="F26B43"/>
          </p15:clr>
        </p15:guide>
        <p15:guide id="33" pos="2562" userDrawn="1">
          <p15:clr>
            <a:srgbClr val="F26B43"/>
          </p15:clr>
        </p15:guide>
        <p15:guide id="34" pos="4975" userDrawn="1">
          <p15:clr>
            <a:srgbClr val="F26B43"/>
          </p15:clr>
        </p15:guide>
        <p15:guide id="35" pos="5117" userDrawn="1">
          <p15:clr>
            <a:srgbClr val="F26B43"/>
          </p15:clr>
        </p15:guide>
        <p15:guide id="36" orient="horz" pos="37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B8C773-5BC3-C84A-9D0E-9A61EA940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460377"/>
            <a:ext cx="11263311" cy="876299"/>
          </a:xfrm>
          <a:prstGeom prst="rect">
            <a:avLst/>
          </a:prstGeom>
        </p:spPr>
        <p:txBody>
          <a:bodyPr vert="horz" lIns="0" tIns="0" rIns="182880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3B854-2C83-5047-BB3A-DDA609150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7363" y="6432561"/>
            <a:ext cx="6935787" cy="234939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lvl1pPr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1pPr>
            <a:lvl2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2pPr>
            <a:lvl3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3pPr>
            <a:lvl4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4pPr>
            <a:lvl5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5pPr>
            <a:lvl6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6pPr>
            <a:lvl7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7pPr>
            <a:lvl8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8pPr>
            <a:lvl9pPr marL="0" algn="r">
              <a:defRPr sz="1000" b="0" i="0" cap="none" baseline="0">
                <a:solidFill>
                  <a:schemeClr val="accent1"/>
                </a:solidFill>
                <a:latin typeface="+mn-lt"/>
              </a:defRPr>
            </a:lvl9pPr>
          </a:lstStyle>
          <a:p>
            <a:r>
              <a:rPr lang="en-US"/>
              <a:t>KEY -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778AD5-8EBC-D94E-98B2-20AFAF1B4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150" y="6432562"/>
            <a:ext cx="492123" cy="2319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0" i="0">
                <a:solidFill>
                  <a:schemeClr val="accent1"/>
                </a:solidFill>
                <a:latin typeface="+mn-lt"/>
              </a:defRPr>
            </a:lvl1pPr>
            <a:lvl2pPr marL="0" algn="r">
              <a:defRPr sz="1000" b="0" i="0">
                <a:solidFill>
                  <a:schemeClr val="accent1"/>
                </a:solidFill>
                <a:latin typeface="+mn-lt"/>
              </a:defRPr>
            </a:lvl2pPr>
            <a:lvl3pPr marL="0" algn="r">
              <a:defRPr sz="1000" b="0" i="0">
                <a:solidFill>
                  <a:schemeClr val="accent1"/>
                </a:solidFill>
                <a:latin typeface="+mn-lt"/>
              </a:defRPr>
            </a:lvl3pPr>
            <a:lvl4pPr marL="0" algn="r">
              <a:defRPr sz="1000" b="0" i="0">
                <a:solidFill>
                  <a:schemeClr val="accent1"/>
                </a:solidFill>
                <a:latin typeface="+mn-lt"/>
              </a:defRPr>
            </a:lvl4pPr>
            <a:lvl5pPr marL="0" algn="r">
              <a:defRPr sz="1000" b="0" i="0">
                <a:solidFill>
                  <a:schemeClr val="accent1"/>
                </a:solidFill>
                <a:latin typeface="+mn-lt"/>
              </a:defRPr>
            </a:lvl5pPr>
            <a:lvl6pPr marL="0" algn="r">
              <a:defRPr sz="1000" b="0" i="0">
                <a:solidFill>
                  <a:schemeClr val="accent1"/>
                </a:solidFill>
                <a:latin typeface="+mn-lt"/>
              </a:defRPr>
            </a:lvl6pPr>
            <a:lvl7pPr marL="0" algn="r">
              <a:defRPr sz="1000" b="0" i="0">
                <a:solidFill>
                  <a:schemeClr val="accent1"/>
                </a:solidFill>
                <a:latin typeface="+mn-lt"/>
              </a:defRPr>
            </a:lvl7pPr>
            <a:lvl8pPr marL="0" algn="r">
              <a:defRPr sz="1000" b="0" i="0">
                <a:solidFill>
                  <a:schemeClr val="accent1"/>
                </a:solidFill>
                <a:latin typeface="+mn-lt"/>
              </a:defRPr>
            </a:lvl8pPr>
            <a:lvl9pPr marL="0" algn="r">
              <a:defRPr sz="1000" b="0" i="0">
                <a:solidFill>
                  <a:schemeClr val="accent1"/>
                </a:solidFill>
                <a:latin typeface="+mn-lt"/>
              </a:defRPr>
            </a:lvl9pPr>
          </a:lstStyle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2DAC7F-B661-E945-A498-BFF0DDB59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1962" y="1568450"/>
            <a:ext cx="11263313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195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  <p:sldLayoutId id="2147483784" r:id="rId35"/>
  </p:sldLayoutIdLst>
  <p:hf hdr="0" dt="0"/>
  <p:txStyles>
    <p:titleStyle>
      <a:lvl1pPr algn="l" defTabSz="914309" rtl="0" eaLnBrk="1" latinLnBrk="0" hangingPunct="1">
        <a:lnSpc>
          <a:spcPts val="3400"/>
        </a:lnSpc>
        <a:spcBef>
          <a:spcPct val="0"/>
        </a:spcBef>
        <a:buNone/>
        <a:defRPr sz="3400" b="0" i="0" kern="1200" cap="none" baseline="0">
          <a:solidFill>
            <a:schemeClr val="accent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Tx/>
        <a:buSzTx/>
        <a:buFont typeface="+mj-lt"/>
        <a:buNone/>
        <a:tabLst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1pPr>
      <a:lvl2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tx2"/>
        </a:buClr>
        <a:buSzTx/>
        <a:buFont typeface="+mj-lt"/>
        <a:buNone/>
        <a:tabLst/>
        <a:defRPr sz="2000" b="1" i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285750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3pPr>
      <a:lvl4pPr marL="514327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Courier New" panose="02070309020205020404" pitchFamily="49" charset="0"/>
        <a:buChar char="o"/>
        <a:tabLst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4pPr>
      <a:lvl5pPr marL="342922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5pPr>
      <a:lvl6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6pPr>
      <a:lvl7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7pPr>
      <a:lvl8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8pPr>
      <a:lvl9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pos="3908" userDrawn="1">
          <p15:clr>
            <a:srgbClr val="F26B43"/>
          </p15:clr>
        </p15:guide>
        <p15:guide id="18" pos="7385" userDrawn="1">
          <p15:clr>
            <a:srgbClr val="F26B43"/>
          </p15:clr>
        </p15:guide>
        <p15:guide id="19" orient="horz" pos="986" userDrawn="1">
          <p15:clr>
            <a:srgbClr val="F26B43"/>
          </p15:clr>
        </p15:guide>
        <p15:guide id="20" orient="horz" pos="4200" userDrawn="1">
          <p15:clr>
            <a:srgbClr val="F26B43"/>
          </p15:clr>
        </p15:guide>
        <p15:guide id="21" orient="horz" pos="4050" userDrawn="1">
          <p15:clr>
            <a:srgbClr val="F26B43"/>
          </p15:clr>
        </p15:guide>
        <p15:guide id="22" orient="horz" pos="842" userDrawn="1">
          <p15:clr>
            <a:srgbClr val="F26B43"/>
          </p15:clr>
        </p15:guide>
        <p15:guide id="23" pos="3768" userDrawn="1">
          <p15:clr>
            <a:srgbClr val="F26B43"/>
          </p15:clr>
        </p15:guide>
        <p15:guide id="24" pos="3839" userDrawn="1">
          <p15:clr>
            <a:srgbClr val="F26B43"/>
          </p15:clr>
        </p15:guide>
        <p15:guide id="25" orient="horz" pos="3928" userDrawn="1">
          <p15:clr>
            <a:srgbClr val="F26B43"/>
          </p15:clr>
        </p15:guide>
        <p15:guide id="26" orient="horz" pos="290" userDrawn="1">
          <p15:clr>
            <a:srgbClr val="F26B43"/>
          </p15:clr>
        </p15:guide>
        <p15:guide id="27" pos="290" userDrawn="1">
          <p15:clr>
            <a:srgbClr val="F26B43"/>
          </p15:clr>
        </p15:guide>
        <p15:guide id="32" pos="2707" userDrawn="1">
          <p15:clr>
            <a:srgbClr val="F26B43"/>
          </p15:clr>
        </p15:guide>
        <p15:guide id="33" pos="2562" userDrawn="1">
          <p15:clr>
            <a:srgbClr val="F26B43"/>
          </p15:clr>
        </p15:guide>
        <p15:guide id="34" pos="4975" userDrawn="1">
          <p15:clr>
            <a:srgbClr val="F26B43"/>
          </p15:clr>
        </p15:guide>
        <p15:guide id="35" pos="5117" userDrawn="1">
          <p15:clr>
            <a:srgbClr val="F26B43"/>
          </p15:clr>
        </p15:guide>
        <p15:guide id="36" orient="horz" pos="37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6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43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42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2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diagramColors" Target="../diagrams/colors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17.png"/><Relationship Id="rId12" Type="http://schemas.openxmlformats.org/officeDocument/2006/relationships/diagramQuickStyle" Target="../diagrams/quickStyle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11" Type="http://schemas.openxmlformats.org/officeDocument/2006/relationships/diagramLayout" Target="../diagrams/layout3.xml"/><Relationship Id="rId5" Type="http://schemas.openxmlformats.org/officeDocument/2006/relationships/diagramColors" Target="../diagrams/colors2.xml"/><Relationship Id="rId10" Type="http://schemas.openxmlformats.org/officeDocument/2006/relationships/diagramData" Target="../diagrams/data3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9.png"/><Relationship Id="rId14" Type="http://schemas.microsoft.com/office/2007/relationships/diagramDrawing" Target="../diagrams/drawing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28626AAE-DC6E-9F65-E2E6-34E7536E7EE5}"/>
              </a:ext>
            </a:extLst>
          </p:cNvPr>
          <p:cNvSpPr txBox="1"/>
          <p:nvPr/>
        </p:nvSpPr>
        <p:spPr>
          <a:xfrm>
            <a:off x="-535716" y="2073324"/>
            <a:ext cx="8711380" cy="18657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lnSpc>
                <a:spcPts val="2100"/>
              </a:lnSpc>
              <a:spcAft>
                <a:spcPts val="900"/>
              </a:spcAft>
            </a:pPr>
            <a:r>
              <a:rPr lang="en-US" sz="3400" b="1" dirty="0">
                <a:solidFill>
                  <a:schemeClr val="accent1"/>
                </a:solidFill>
                <a:latin typeface="Garamond" panose="02020404030301010803" pitchFamily="18" charset="0"/>
              </a:rPr>
              <a:t>PREDICTING PROPENSITY OF</a:t>
            </a:r>
          </a:p>
          <a:p>
            <a:pPr marL="0" indent="0" algn="ctr">
              <a:lnSpc>
                <a:spcPts val="2100"/>
              </a:lnSpc>
              <a:spcAft>
                <a:spcPts val="900"/>
              </a:spcAft>
            </a:pPr>
            <a:r>
              <a:rPr lang="en-US" sz="3400" b="1" dirty="0">
                <a:solidFill>
                  <a:schemeClr val="accent1"/>
                </a:solidFill>
                <a:latin typeface="Garamond" panose="02020404030301010803" pitchFamily="18" charset="0"/>
              </a:rPr>
              <a:t> INPATIENT ADMISSION IN THE 6</a:t>
            </a:r>
          </a:p>
          <a:p>
            <a:pPr marL="0" indent="0" algn="ctr">
              <a:lnSpc>
                <a:spcPts val="2100"/>
              </a:lnSpc>
              <a:spcAft>
                <a:spcPts val="900"/>
              </a:spcAft>
            </a:pPr>
            <a:r>
              <a:rPr lang="en-US" sz="3400" b="1" dirty="0">
                <a:solidFill>
                  <a:schemeClr val="accent1"/>
                </a:solidFill>
                <a:latin typeface="Garamond" panose="02020404030301010803" pitchFamily="18" charset="0"/>
              </a:rPr>
              <a:t> MONTHS</a:t>
            </a:r>
            <a:endParaRPr lang="en-US" sz="3400" b="1" i="0" dirty="0">
              <a:solidFill>
                <a:schemeClr val="accent1"/>
              </a:solidFill>
              <a:latin typeface="Garamond" panose="02020404030301010803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005DD4-CDC8-305F-DC20-ACDE63403809}"/>
              </a:ext>
            </a:extLst>
          </p:cNvPr>
          <p:cNvSpPr txBox="1"/>
          <p:nvPr/>
        </p:nvSpPr>
        <p:spPr>
          <a:xfrm>
            <a:off x="668877" y="3699151"/>
            <a:ext cx="5859742" cy="4799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100"/>
              </a:lnSpc>
              <a:spcAft>
                <a:spcPts val="900"/>
              </a:spcAft>
            </a:pPr>
            <a:r>
              <a:rPr lang="en-US" sz="2400" dirty="0">
                <a:solidFill>
                  <a:schemeClr val="accent1"/>
                </a:solidFill>
              </a:rPr>
              <a:t>Enterprise Services - Summer Internship</a:t>
            </a: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6DA6F9A-1C86-7A09-1942-E9B244625C64}"/>
              </a:ext>
            </a:extLst>
          </p:cNvPr>
          <p:cNvSpPr/>
          <p:nvPr/>
        </p:nvSpPr>
        <p:spPr>
          <a:xfrm>
            <a:off x="659045" y="4247501"/>
            <a:ext cx="5987562" cy="2137474"/>
          </a:xfrm>
          <a:prstGeom prst="roundRect">
            <a:avLst>
              <a:gd name="adj" fmla="val 6769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>
                <a:solidFill>
                  <a:schemeClr val="accent1"/>
                </a:solidFill>
              </a:rPr>
              <a:t>By:</a:t>
            </a:r>
          </a:p>
          <a:p>
            <a:endParaRPr lang="en-US" sz="1000" b="1">
              <a:solidFill>
                <a:schemeClr val="tx1"/>
              </a:solidFill>
            </a:endParaRPr>
          </a:p>
          <a:p>
            <a:r>
              <a:rPr lang="en-US">
                <a:solidFill>
                  <a:schemeClr val="accent1"/>
                </a:solidFill>
                <a:latin typeface="+mj-lt"/>
              </a:rPr>
              <a:t>Raghav Rath</a:t>
            </a:r>
            <a:endParaRPr lang="en-US">
              <a:solidFill>
                <a:schemeClr val="accent1"/>
              </a:solidFill>
              <a:latin typeface="+mj-lt"/>
              <a:cs typeface="Arial"/>
            </a:endParaRPr>
          </a:p>
          <a:p>
            <a:r>
              <a:rPr lang="en-US">
                <a:solidFill>
                  <a:schemeClr val="accent1"/>
                </a:solidFill>
                <a:latin typeface="+mj-lt"/>
              </a:rPr>
              <a:t>Piyusha S Shimpi </a:t>
            </a:r>
            <a:endParaRPr lang="en-US">
              <a:solidFill>
                <a:schemeClr val="accent1"/>
              </a:solidFill>
              <a:latin typeface="+mj-lt"/>
              <a:cs typeface="Arial"/>
            </a:endParaRPr>
          </a:p>
          <a:p>
            <a:r>
              <a:rPr lang="en-US">
                <a:solidFill>
                  <a:schemeClr val="accent1"/>
                </a:solidFill>
                <a:latin typeface="+mj-lt"/>
              </a:rPr>
              <a:t>Ramya Sai </a:t>
            </a:r>
            <a:r>
              <a:rPr lang="en-US" err="1">
                <a:solidFill>
                  <a:schemeClr val="accent1"/>
                </a:solidFill>
                <a:latin typeface="+mj-lt"/>
              </a:rPr>
              <a:t>Kapalavayi</a:t>
            </a:r>
            <a:endParaRPr lang="en-US" err="1">
              <a:solidFill>
                <a:schemeClr val="accent1"/>
              </a:solidFill>
              <a:latin typeface="+mj-lt"/>
              <a:cs typeface="Arial"/>
            </a:endParaRPr>
          </a:p>
          <a:p>
            <a:endParaRPr lang="en-US">
              <a:solidFill>
                <a:schemeClr val="tx1"/>
              </a:solidFill>
              <a:latin typeface="+mj-lt"/>
            </a:endParaRPr>
          </a:p>
          <a:p>
            <a:r>
              <a:rPr lang="en-US">
                <a:solidFill>
                  <a:schemeClr val="accent1"/>
                </a:solidFill>
              </a:rPr>
              <a:t>Under the guidance of Pallavi Singh (Core Leader)</a:t>
            </a:r>
            <a:endParaRPr lang="en-US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50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581" y="142003"/>
            <a:ext cx="11860244" cy="876299"/>
          </a:xfrm>
        </p:spPr>
        <p:txBody>
          <a:bodyPr/>
          <a:lstStyle/>
          <a:p>
            <a:r>
              <a:rPr lang="en-US" b="1"/>
              <a:t>Inpatients’ County-W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C6F917-AD77-C6BB-7591-8FA0F5035FF5}"/>
              </a:ext>
            </a:extLst>
          </p:cNvPr>
          <p:cNvSpPr txBox="1"/>
          <p:nvPr/>
        </p:nvSpPr>
        <p:spPr>
          <a:xfrm>
            <a:off x="8025879" y="1222310"/>
            <a:ext cx="3834366" cy="2976064"/>
          </a:xfrm>
          <a:prstGeom prst="rect">
            <a:avLst/>
          </a:prstGeom>
          <a:noFill/>
          <a:ln w="47625" cmpd="dbl">
            <a:noFill/>
          </a:ln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ea typeface="Verdana"/>
            </a:endParaRPr>
          </a:p>
          <a:p>
            <a:r>
              <a:rPr lang="en-US"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:</a:t>
            </a:r>
          </a:p>
          <a:p>
            <a:endParaRPr lang="en-US" sz="2400" b="1">
              <a:latin typeface="Arial" panose="020B0604020202020204" pitchFamily="34" charset="0"/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Middlesex</a:t>
            </a:r>
            <a:r>
              <a:rPr lang="en-US" sz="1600">
                <a:latin typeface="Arial" panose="020B0604020202020204" pitchFamily="34" charset="0"/>
                <a:ea typeface="Verdana"/>
              </a:rPr>
              <a:t> boasts the highest number of inpatients with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14</a:t>
            </a:r>
            <a:r>
              <a:rPr lang="en-US" sz="1600">
                <a:latin typeface="Arial" panose="020B0604020202020204" pitchFamily="34" charset="0"/>
                <a:ea typeface="Verdana"/>
              </a:rPr>
              <a:t>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latin typeface="Arial" panose="020B0604020202020204" pitchFamily="34" charset="0"/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Franklin</a:t>
            </a:r>
            <a:r>
              <a:rPr lang="en-US" sz="1600">
                <a:latin typeface="Arial" panose="020B0604020202020204" pitchFamily="34" charset="0"/>
                <a:ea typeface="Verdana"/>
              </a:rPr>
              <a:t>,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Hampshire</a:t>
            </a:r>
            <a:r>
              <a:rPr lang="en-US" sz="1600">
                <a:latin typeface="Arial" panose="020B0604020202020204" pitchFamily="34" charset="0"/>
                <a:ea typeface="Verdana"/>
              </a:rPr>
              <a:t> &amp;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Berkshire</a:t>
            </a:r>
            <a:r>
              <a:rPr lang="en-US" sz="1600">
                <a:latin typeface="Arial" panose="020B0604020202020204" pitchFamily="34" charset="0"/>
                <a:ea typeface="Verdana"/>
              </a:rPr>
              <a:t> has the lowest percentage of inpatients.</a:t>
            </a:r>
          </a:p>
          <a:p>
            <a:endParaRPr lang="en-US" sz="1600">
              <a:latin typeface="Arial" panose="020B0604020202020204" pitchFamily="34" charset="0"/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Norfolk</a:t>
            </a:r>
            <a:r>
              <a:rPr lang="en-US" sz="1600">
                <a:latin typeface="Arial" panose="020B0604020202020204" pitchFamily="34" charset="0"/>
                <a:ea typeface="Verdana"/>
              </a:rPr>
              <a:t>,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Essex</a:t>
            </a:r>
            <a:r>
              <a:rPr lang="en-US" sz="1600">
                <a:latin typeface="Arial" panose="020B0604020202020204" pitchFamily="34" charset="0"/>
                <a:ea typeface="Verdana"/>
              </a:rPr>
              <a:t>, and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Hampshire</a:t>
            </a:r>
            <a:r>
              <a:rPr lang="en-US" sz="1600">
                <a:latin typeface="Arial" panose="020B0604020202020204" pitchFamily="34" charset="0"/>
                <a:ea typeface="Verdana"/>
              </a:rPr>
              <a:t> exhibit a low inpatient rate, ranging from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2.9% to 3%</a:t>
            </a:r>
            <a:r>
              <a:rPr lang="en-US" sz="1600">
                <a:latin typeface="Arial" panose="020B0604020202020204" pitchFamily="34" charset="0"/>
                <a:ea typeface="Verdana"/>
              </a:rPr>
              <a:t>.</a:t>
            </a: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IN" b="0" i="0">
              <a:latin typeface="+mn-lt"/>
            </a:endParaRPr>
          </a:p>
        </p:txBody>
      </p:sp>
      <p:pic>
        <p:nvPicPr>
          <p:cNvPr id="2" name="Picture 10" descr="A graph with numbers and red lines&#10;&#10;Description automatically generated">
            <a:extLst>
              <a:ext uri="{FF2B5EF4-FFF2-40B4-BE49-F238E27FC236}">
                <a16:creationId xmlns:a16="http://schemas.microsoft.com/office/drawing/2014/main" id="{CD8591CD-CE5C-ADCE-476F-F1196643EA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465"/>
          <a:stretch/>
        </p:blipFill>
        <p:spPr>
          <a:xfrm>
            <a:off x="328581" y="1307550"/>
            <a:ext cx="7329893" cy="47145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20679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172" y="123333"/>
            <a:ext cx="10302742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Air Quality of Patients’ Local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1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35408" y="1397493"/>
            <a:ext cx="3675094" cy="4460875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lang="en-US" sz="18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endParaRPr lang="en-US" sz="18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High percentage</a:t>
            </a:r>
            <a:r>
              <a:rPr lang="en-US" sz="1600">
                <a:latin typeface="Arial" panose="020B0604020202020204" pitchFamily="34" charset="0"/>
                <a:ea typeface="Verdana"/>
              </a:rPr>
              <a:t> of inpatients belong to the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moderate </a:t>
            </a:r>
            <a:r>
              <a:rPr lang="en-US" sz="1600">
                <a:latin typeface="Arial" panose="020B0604020202020204" pitchFamily="34" charset="0"/>
                <a:ea typeface="Verdana"/>
              </a:rPr>
              <a:t>air quality localities.</a:t>
            </a:r>
            <a:endParaRPr lang="en-US" sz="1600">
              <a:latin typeface="Arial" panose="020B0604020202020204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No</a:t>
            </a:r>
            <a:r>
              <a:rPr lang="en-US" sz="1600">
                <a:latin typeface="Arial" panose="020B0604020202020204" pitchFamily="34" charset="0"/>
                <a:ea typeface="Verdana"/>
              </a:rPr>
              <a:t> inpatients from areas with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normal </a:t>
            </a:r>
            <a:r>
              <a:rPr lang="en-US" sz="1600">
                <a:latin typeface="Arial" panose="020B0604020202020204" pitchFamily="34" charset="0"/>
                <a:ea typeface="Verdana"/>
              </a:rPr>
              <a:t>air quality.</a:t>
            </a:r>
            <a:endParaRPr lang="en-US" sz="1600">
              <a:latin typeface="Arial" panose="020B0604020202020204" pitchFamily="34" charset="0"/>
            </a:endParaRPr>
          </a:p>
          <a:p>
            <a:endParaRPr lang="en-US" sz="1600">
              <a:latin typeface="Arial" panose="020B0604020202020204" pitchFamily="34" charset="0"/>
            </a:endParaRPr>
          </a:p>
        </p:txBody>
      </p:sp>
      <p:pic>
        <p:nvPicPr>
          <p:cNvPr id="5" name="Picture 5" descr="A graph with numbers and symbols&#10;&#10;Description automatically generated">
            <a:extLst>
              <a:ext uri="{FF2B5EF4-FFF2-40B4-BE49-F238E27FC236}">
                <a16:creationId xmlns:a16="http://schemas.microsoft.com/office/drawing/2014/main" id="{8A47CD56-C969-3D94-D3D0-69E0CB875D6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/>
          <a:srcRect l="119" r="77"/>
          <a:stretch/>
        </p:blipFill>
        <p:spPr>
          <a:xfrm>
            <a:off x="611306" y="1494504"/>
            <a:ext cx="7223588" cy="46309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6570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283135"/>
            <a:ext cx="13315948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Top Historic Disease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2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447454" y="1497768"/>
            <a:ext cx="3334448" cy="4523348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:</a:t>
            </a:r>
          </a:p>
          <a:p>
            <a:pPr lvl="1"/>
            <a:endParaRPr lang="en-US" sz="9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latin typeface="Arial" panose="020B0604020202020204" pitchFamily="34" charset="0"/>
                <a:ea typeface="Verdana"/>
              </a:rPr>
              <a:t>Chronic Pain</a:t>
            </a:r>
            <a:r>
              <a:rPr lang="en-US" sz="1600">
                <a:latin typeface="Arial" panose="020B0604020202020204" pitchFamily="34" charset="0"/>
                <a:ea typeface="Verdana"/>
              </a:rPr>
              <a:t>,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Chronic Intractable Migraine without Aura</a:t>
            </a:r>
            <a:r>
              <a:rPr lang="en-US" sz="1600">
                <a:latin typeface="Arial" panose="020B0604020202020204" pitchFamily="34" charset="0"/>
                <a:ea typeface="Verdana"/>
              </a:rPr>
              <a:t>,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Impacted Molars</a:t>
            </a:r>
            <a:r>
              <a:rPr lang="en-US" sz="1600">
                <a:latin typeface="Arial" panose="020B0604020202020204" pitchFamily="34" charset="0"/>
                <a:ea typeface="Verdana"/>
              </a:rPr>
              <a:t>, 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Appendicitis</a:t>
            </a:r>
            <a:r>
              <a:rPr lang="en-US" sz="1600">
                <a:latin typeface="Arial" panose="020B0604020202020204" pitchFamily="34" charset="0"/>
                <a:ea typeface="Verdana"/>
              </a:rPr>
              <a:t> and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Cancer</a:t>
            </a:r>
            <a:r>
              <a:rPr lang="en-US" sz="1600">
                <a:latin typeface="Arial" panose="020B0604020202020204" pitchFamily="34" charset="0"/>
                <a:ea typeface="Verdana"/>
              </a:rPr>
              <a:t> are the major diseases which lead to inpatient admission.</a:t>
            </a:r>
            <a:endParaRPr lang="en-US" sz="1600">
              <a:latin typeface="Arial" panose="020B0604020202020204" pitchFamily="34" charset="0"/>
            </a:endParaRPr>
          </a:p>
          <a:p>
            <a:endParaRPr lang="en-US" sz="1600">
              <a:latin typeface="Arial" panose="020B0604020202020204" pitchFamily="34" charset="0"/>
            </a:endParaRPr>
          </a:p>
        </p:txBody>
      </p:sp>
      <p:pic>
        <p:nvPicPr>
          <p:cNvPr id="5" name="Picture 5" descr="A graph with blue and green squares&#10;&#10;Description automatically generated">
            <a:extLst>
              <a:ext uri="{FF2B5EF4-FFF2-40B4-BE49-F238E27FC236}">
                <a16:creationId xmlns:a16="http://schemas.microsoft.com/office/drawing/2014/main" id="{7D538574-47DC-4BB9-6C73-0F339E09498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/>
          <a:srcRect r="-324"/>
          <a:stretch/>
        </p:blipFill>
        <p:spPr>
          <a:xfrm>
            <a:off x="633756" y="1507195"/>
            <a:ext cx="7153394" cy="46570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422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3135"/>
            <a:ext cx="13315948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Top Historic Proced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3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3646" y="1820246"/>
            <a:ext cx="3726856" cy="3241611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endParaRPr lang="en-US" sz="16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ea typeface="Verdana"/>
              </a:rPr>
              <a:t>Top historic procedures have a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100% inpatient rate</a:t>
            </a:r>
            <a:r>
              <a:rPr lang="en-US" sz="1600">
                <a:latin typeface="Arial" panose="020B0604020202020204" pitchFamily="34" charset="0"/>
                <a:ea typeface="Verdana"/>
              </a:rPr>
              <a:t> with an exception of chemo and radiation combined therap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ea typeface="Verdana"/>
              </a:rPr>
              <a:t>The major procedures are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Bilateral Tubal Ligation</a:t>
            </a:r>
            <a:r>
              <a:rPr lang="en-US" sz="1600">
                <a:latin typeface="Arial" panose="020B0604020202020204" pitchFamily="34" charset="0"/>
                <a:ea typeface="Verdana"/>
              </a:rPr>
              <a:t>,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Surgical Manipulation</a:t>
            </a:r>
            <a:r>
              <a:rPr lang="en-US" sz="1600">
                <a:latin typeface="Arial" panose="020B0604020202020204" pitchFamily="34" charset="0"/>
                <a:ea typeface="Verdana"/>
              </a:rPr>
              <a:t>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of joint knee</a:t>
            </a:r>
            <a:r>
              <a:rPr lang="en-US" sz="1600">
                <a:latin typeface="Arial" panose="020B0604020202020204" pitchFamily="34" charset="0"/>
                <a:ea typeface="Verdana"/>
              </a:rPr>
              <a:t>.</a:t>
            </a:r>
          </a:p>
          <a:p>
            <a:r>
              <a:rPr lang="en-US" sz="1600">
                <a:latin typeface="Arial" panose="020B0604020202020204" pitchFamily="34" charset="0"/>
                <a:ea typeface="Verdana"/>
              </a:rPr>
              <a:t>  </a:t>
            </a:r>
            <a:endParaRPr lang="en-US" sz="1600">
              <a:latin typeface="Arial" panose="020B0604020202020204" pitchFamily="34" charset="0"/>
            </a:endParaRPr>
          </a:p>
          <a:p>
            <a:endParaRPr lang="en-US" sz="1600">
              <a:latin typeface="Arial" panose="020B0604020202020204" pitchFamily="34" charset="0"/>
            </a:endParaRPr>
          </a:p>
        </p:txBody>
      </p:sp>
      <p:pic>
        <p:nvPicPr>
          <p:cNvPr id="2" name="Picture 2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BE0ED366-EE71-FB6A-9DEB-07C331B4DB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821" y="1283217"/>
            <a:ext cx="7340327" cy="48620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09614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406" y="190500"/>
            <a:ext cx="12712824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Visit Patter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4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78143" y="1451857"/>
            <a:ext cx="3759608" cy="3000400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endParaRPr lang="en-US" sz="16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gnificant </a:t>
            </a:r>
            <a:r>
              <a:rPr lang="en-US" sz="160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ike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the number of patients </a:t>
            </a: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atient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bulatory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atient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60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llness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are</a:t>
            </a: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en-US" sz="1600" b="0" i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r the last six months</a:t>
            </a: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Picture 9" descr="A graph with numbers and a red line&#10;&#10;Description automatically generated">
            <a:extLst>
              <a:ext uri="{FF2B5EF4-FFF2-40B4-BE49-F238E27FC236}">
                <a16:creationId xmlns:a16="http://schemas.microsoft.com/office/drawing/2014/main" id="{4EA28CA8-048C-A8A0-F7C4-3B8DAB13A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261" y="1317523"/>
            <a:ext cx="6950746" cy="4664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683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819" y="0"/>
            <a:ext cx="14187949" cy="966786"/>
          </a:xfrm>
        </p:spPr>
        <p:txBody>
          <a:bodyPr/>
          <a:lstStyle/>
          <a:p>
            <a:r>
              <a:rPr lang="en-US" b="1">
                <a:latin typeface="Garamond"/>
              </a:rPr>
              <a:t>Major Diseases for Ambulatory to Inpatient Transf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5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58125" y="1603388"/>
            <a:ext cx="4172788" cy="3270092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Insights:</a:t>
            </a:r>
          </a:p>
          <a:p>
            <a:pPr lvl="1"/>
            <a:endParaRPr lang="en-US" sz="180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>
                <a:latin typeface="Arial"/>
                <a:ea typeface="Verdana"/>
                <a:cs typeface="Arial"/>
              </a:rPr>
              <a:t>Cancer</a:t>
            </a:r>
            <a:r>
              <a:rPr lang="en-US" sz="1600">
                <a:latin typeface="Arial"/>
                <a:ea typeface="Verdana"/>
                <a:cs typeface="Arial"/>
              </a:rPr>
              <a:t> had the highest composition of patients transferring from </a:t>
            </a:r>
            <a:r>
              <a:rPr lang="en-US" sz="1600" b="1">
                <a:latin typeface="Arial"/>
                <a:ea typeface="Verdana"/>
                <a:cs typeface="Arial"/>
              </a:rPr>
              <a:t>ambulatory to Inpatients </a:t>
            </a:r>
            <a:r>
              <a:rPr lang="en-US" sz="1600">
                <a:latin typeface="Arial"/>
                <a:ea typeface="Verdana"/>
                <a:cs typeface="Arial"/>
              </a:rPr>
              <a:t>encounter class within</a:t>
            </a:r>
            <a:r>
              <a:rPr lang="en-US" sz="1600" b="1">
                <a:latin typeface="Arial"/>
                <a:ea typeface="Verdana"/>
                <a:cs typeface="Arial"/>
              </a:rPr>
              <a:t> 2 weeks. </a:t>
            </a:r>
            <a:endParaRPr lang="en-US" sz="1600" b="1"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>
                <a:latin typeface="Arial"/>
                <a:ea typeface="Verdana"/>
                <a:cs typeface="Arial"/>
              </a:rPr>
              <a:t>Bronchitis, Sinusitis </a:t>
            </a:r>
            <a:r>
              <a:rPr lang="en-US" sz="1600">
                <a:latin typeface="Arial"/>
                <a:ea typeface="Verdana"/>
                <a:cs typeface="Arial"/>
              </a:rPr>
              <a:t>had the least composition of patients transferring.</a:t>
            </a:r>
          </a:p>
          <a:p>
            <a:endParaRPr lang="en-US" sz="1600">
              <a:latin typeface="Arial" panose="020B0604020202020204" pitchFamily="34" charset="0"/>
            </a:endParaRPr>
          </a:p>
          <a:p>
            <a:endParaRPr lang="en-US" sz="1400">
              <a:latin typeface="Arial" panose="020B0604020202020204" pitchFamily="34" charset="0"/>
            </a:endParaRPr>
          </a:p>
        </p:txBody>
      </p:sp>
      <p:pic>
        <p:nvPicPr>
          <p:cNvPr id="2" name="Picture 4" descr="image">
            <a:extLst>
              <a:ext uri="{FF2B5EF4-FFF2-40B4-BE49-F238E27FC236}">
                <a16:creationId xmlns:a16="http://schemas.microsoft.com/office/drawing/2014/main" id="{E1E180D7-328E-C51B-574F-3E7FB17B2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944" y="1406013"/>
            <a:ext cx="6998009" cy="46582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698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57E977-7BE5-0847-915E-FE271C10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94" y="11810"/>
            <a:ext cx="13296568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Model Results (XGBoost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D39E7-8ADE-1C41-9A5A-0DEECF6A15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6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5D7EBA-D99F-33AA-8E88-0E2B0034FBBF}"/>
              </a:ext>
            </a:extLst>
          </p:cNvPr>
          <p:cNvSpPr txBox="1"/>
          <p:nvPr/>
        </p:nvSpPr>
        <p:spPr>
          <a:xfrm>
            <a:off x="-1916557" y="936458"/>
            <a:ext cx="60945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Confusion Matrix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68927933-527B-516E-8A81-14D5DCE21F2C}"/>
              </a:ext>
            </a:extLst>
          </p:cNvPr>
          <p:cNvSpPr txBox="1">
            <a:spLocks/>
          </p:cNvSpPr>
          <p:nvPr/>
        </p:nvSpPr>
        <p:spPr>
          <a:xfrm>
            <a:off x="432094" y="-56598"/>
            <a:ext cx="13296568" cy="876299"/>
          </a:xfrm>
          <a:prstGeom prst="rect">
            <a:avLst/>
          </a:prstGeom>
        </p:spPr>
        <p:txBody>
          <a:bodyPr vert="horz" lIns="0" tIns="0" rIns="1828800" bIns="0" rtlCol="0" anchor="b" anchorCtr="0">
            <a:noAutofit/>
          </a:bodyPr>
          <a:lstStyle>
            <a:lvl1pPr algn="l" defTabSz="914309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0" i="0" kern="1200" cap="none" baseline="0">
                <a:solidFill>
                  <a:schemeClr val="accent1"/>
                </a:solidFill>
                <a:latin typeface="Garamond" panose="02020404030301010803" pitchFamily="18" charset="0"/>
                <a:ea typeface="+mj-ea"/>
                <a:cs typeface="+mj-cs"/>
              </a:defRPr>
            </a:lvl1pPr>
          </a:lstStyle>
          <a:p>
            <a:endParaRPr lang="en-US" sz="3600" b="1">
              <a:latin typeface="Garamond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5400EB-FAA3-FD2D-961E-BE09CADE3E25}"/>
              </a:ext>
            </a:extLst>
          </p:cNvPr>
          <p:cNvSpPr txBox="1"/>
          <p:nvPr/>
        </p:nvSpPr>
        <p:spPr>
          <a:xfrm>
            <a:off x="-1798570" y="3450601"/>
            <a:ext cx="60945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Classification Repo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909D3D-1D12-6BE0-1E70-B9B6C6F1E923}"/>
              </a:ext>
            </a:extLst>
          </p:cNvPr>
          <p:cNvSpPr txBox="1"/>
          <p:nvPr/>
        </p:nvSpPr>
        <p:spPr>
          <a:xfrm>
            <a:off x="5130974" y="932760"/>
            <a:ext cx="60945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1600" b="1">
                <a:solidFill>
                  <a:schemeClr val="accent2">
                    <a:lumMod val="75000"/>
                  </a:schemeClr>
                </a:solidFill>
              </a:rPr>
              <a:t>AUC-ROC Curve</a:t>
            </a:r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902BD54-BB33-8741-11C5-850BD68D3A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68016" y="6066038"/>
            <a:ext cx="2758069" cy="371400"/>
          </a:xfrm>
        </p:spPr>
        <p:txBody>
          <a:bodyPr/>
          <a:lstStyle/>
          <a:p>
            <a:pPr algn="ctr"/>
            <a:r>
              <a:rPr lang="en-US" b="1">
                <a:latin typeface="Arial"/>
                <a:cs typeface="Arial"/>
              </a:rPr>
              <a:t>KEY:</a:t>
            </a:r>
            <a:r>
              <a:rPr lang="en-US" b="1">
                <a:solidFill>
                  <a:srgbClr val="00338E"/>
                </a:solidFill>
                <a:latin typeface="Arial"/>
                <a:cs typeface="Arial"/>
              </a:rPr>
              <a:t> </a:t>
            </a:r>
            <a:r>
              <a:rPr lang="en-US">
                <a:solidFill>
                  <a:schemeClr val="tx1"/>
                </a:solidFill>
                <a:latin typeface="Arial"/>
                <a:cs typeface="Arial"/>
              </a:rPr>
              <a:t>0 - not admitted, 1 - admitted</a:t>
            </a:r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Picture 10" descr="A graph of a curve&#10;&#10;Description automatically generated">
            <a:extLst>
              <a:ext uri="{FF2B5EF4-FFF2-40B4-BE49-F238E27FC236}">
                <a16:creationId xmlns:a16="http://schemas.microsoft.com/office/drawing/2014/main" id="{1B412366-44D1-7B04-677D-70BAA7EC5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2027" y="1398532"/>
            <a:ext cx="5476875" cy="4638675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5237364-F4B1-A98F-C02A-78683EEBEFD7}"/>
              </a:ext>
            </a:extLst>
          </p:cNvPr>
          <p:cNvGrpSpPr/>
          <p:nvPr/>
        </p:nvGrpSpPr>
        <p:grpSpPr>
          <a:xfrm>
            <a:off x="509447" y="1102037"/>
            <a:ext cx="3916638" cy="2067899"/>
            <a:chOff x="524061" y="1209457"/>
            <a:chExt cx="3916638" cy="206789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18F5E41-5A3E-B202-FD13-2ED78979F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4061" y="1412760"/>
              <a:ext cx="3916638" cy="186459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4330D1C-6232-D396-FBFD-7B796B3BC06F}"/>
                </a:ext>
              </a:extLst>
            </p:cNvPr>
            <p:cNvSpPr txBox="1"/>
            <p:nvPr/>
          </p:nvSpPr>
          <p:spPr>
            <a:xfrm rot="16200000">
              <a:off x="-203499" y="1956806"/>
              <a:ext cx="1678141" cy="183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l">
                <a:lnSpc>
                  <a:spcPts val="2100"/>
                </a:lnSpc>
                <a:spcAft>
                  <a:spcPts val="900"/>
                </a:spcAft>
              </a:pPr>
              <a:r>
                <a:rPr lang="en-US" sz="1200" b="0" i="0" dirty="0">
                  <a:solidFill>
                    <a:schemeClr val="bg1"/>
                  </a:solidFill>
                  <a:latin typeface="+mn-lt"/>
                </a:rPr>
                <a:t>Actual Values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ABEEF551-6BB0-06FD-48E3-A82C5986A0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80" y="3861841"/>
            <a:ext cx="4137957" cy="205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34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57E977-7BE5-0847-915E-FE271C10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18" y="99873"/>
            <a:ext cx="13296568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Feature Import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D39E7-8ADE-1C41-9A5A-0DEECF6A15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7</a:t>
            </a:fld>
            <a:endParaRPr lang="en-US"/>
          </a:p>
        </p:txBody>
      </p:sp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786A36DD-DF06-98F7-BCB8-3274960E6B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435" y="1208405"/>
            <a:ext cx="7482229" cy="50602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EB051B3-A1EC-2451-A6D0-7FEC3DDF39AA}"/>
              </a:ext>
            </a:extLst>
          </p:cNvPr>
          <p:cNvSpPr txBox="1"/>
          <p:nvPr/>
        </p:nvSpPr>
        <p:spPr>
          <a:xfrm>
            <a:off x="8158780" y="2308317"/>
            <a:ext cx="3883599" cy="32128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chemeClr val="accent1">
                    <a:lumMod val="75000"/>
                  </a:schemeClr>
                </a:solidFill>
                <a:ea typeface="+mn-lt"/>
                <a:cs typeface="+mn-lt"/>
              </a:rPr>
              <a:t>KEY:</a:t>
            </a:r>
            <a:endParaRPr lang="en-US" sz="2000">
              <a:solidFill>
                <a:srgbClr val="00266A"/>
              </a:solidFill>
              <a:ea typeface="+mn-lt"/>
              <a:cs typeface="+mn-lt"/>
            </a:endParaRPr>
          </a:p>
          <a:p>
            <a:endParaRPr lang="en-US" sz="140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RPL_THEME1 - Socioeconomic 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RPL_THEME2 - Household Composition &amp; Disability</a:t>
            </a:r>
            <a:endParaRPr lang="en-US" sz="14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RPL_THEME3 - Minority Status &amp; Language.</a:t>
            </a:r>
          </a:p>
          <a:p>
            <a:pPr marL="285750" indent="-285750">
              <a:buFont typeface="Arial,Sans-Serif"/>
              <a:buChar char="•"/>
            </a:pPr>
            <a:r>
              <a:rPr lang="en-US" sz="1400">
                <a:cs typeface="Arial" panose="020B0604020202020204"/>
              </a:rPr>
              <a:t>RPL_THEME4 – Housing type and Transportation</a:t>
            </a: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 sz="1400">
              <a:cs typeface="Arial" panose="020B0604020202020204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 sz="1400">
              <a:cs typeface="Arial" panose="020B0604020202020204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 sz="1400">
              <a:cs typeface="Arial" panose="020B0604020202020204"/>
            </a:endParaRP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endParaRPr lang="en-US" sz="14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4155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ADC73774-88E3-910B-FD10-1ACCC34480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07" y="1393352"/>
            <a:ext cx="4374915" cy="2896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BD7ABD0-FFBC-BEBA-0DE3-F93E2E032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56" y="159144"/>
            <a:ext cx="11263311" cy="602747"/>
          </a:xfrm>
        </p:spPr>
        <p:txBody>
          <a:bodyPr>
            <a:normAutofit/>
          </a:bodyPr>
          <a:lstStyle/>
          <a:p>
            <a:r>
              <a:rPr lang="en-US" b="1"/>
              <a:t>Causal Explan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7615AA-36FA-DF9E-37EA-C85C36C04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18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53EDD1-193E-9B78-FA53-78AE482D8420}"/>
              </a:ext>
            </a:extLst>
          </p:cNvPr>
          <p:cNvSpPr txBox="1"/>
          <p:nvPr/>
        </p:nvSpPr>
        <p:spPr>
          <a:xfrm>
            <a:off x="2501235" y="898595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b="1" dirty="0">
                <a:solidFill>
                  <a:srgbClr val="FF0000"/>
                </a:solidFill>
                <a:cs typeface="Arial"/>
              </a:rPr>
              <a:t>Admitted</a:t>
            </a:r>
            <a:endParaRPr lang="en-US" sz="1800" b="1" i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27A660-FD3E-FAE5-CB85-19AB7ED82680}"/>
              </a:ext>
            </a:extLst>
          </p:cNvPr>
          <p:cNvSpPr txBox="1"/>
          <p:nvPr/>
        </p:nvSpPr>
        <p:spPr>
          <a:xfrm>
            <a:off x="7765256" y="885979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100"/>
              </a:lnSpc>
              <a:spcAft>
                <a:spcPts val="900"/>
              </a:spcAft>
            </a:pPr>
            <a:r>
              <a:rPr lang="en-US" b="1" dirty="0">
                <a:solidFill>
                  <a:schemeClr val="accent2"/>
                </a:solidFill>
                <a:cs typeface="Arial"/>
              </a:rPr>
              <a:t>Not-Admitted</a:t>
            </a:r>
            <a:endParaRPr lang="en-US" sz="1800" b="1" i="0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3792C0A6-5B10-FBCE-9AF0-CE644A0FE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7563" y="1379829"/>
            <a:ext cx="4463493" cy="2907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F27AFF8-8FFC-6430-D186-D457251E21E7}"/>
              </a:ext>
            </a:extLst>
          </p:cNvPr>
          <p:cNvSpPr txBox="1"/>
          <p:nvPr/>
        </p:nvSpPr>
        <p:spPr>
          <a:xfrm>
            <a:off x="147250" y="4515248"/>
            <a:ext cx="5949227" cy="13582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 b="0" i="0">
                <a:latin typeface="+mn-lt"/>
              </a:rPr>
              <a:t>The </a:t>
            </a:r>
            <a:r>
              <a:rPr lang="en-US" sz="1400" b="1" i="0">
                <a:latin typeface="+mn-lt"/>
              </a:rPr>
              <a:t>major factors </a:t>
            </a:r>
            <a:r>
              <a:rPr lang="en-US" sz="1400" b="0" i="0">
                <a:latin typeface="+mn-lt"/>
              </a:rPr>
              <a:t>leading to inpatient admission as per th</a:t>
            </a:r>
            <a:r>
              <a:rPr lang="en-US" sz="1400"/>
              <a:t>e model are </a:t>
            </a:r>
            <a:r>
              <a:rPr lang="en-US" sz="1400" b="1"/>
              <a:t>length of stay, cancer, chronic pain and healthcare coverage</a:t>
            </a:r>
            <a:r>
              <a:rPr lang="en-US" sz="1400"/>
              <a:t>.</a:t>
            </a: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 b="0" i="0">
                <a:latin typeface="+mn-lt"/>
              </a:rPr>
              <a:t>Most of the patients visiting hospitals as inpatients have been suffering from either cancer or chronic pain</a:t>
            </a:r>
            <a:r>
              <a:rPr lang="en-US" sz="1400"/>
              <a:t> and have a good healthcare insurance coverage</a:t>
            </a:r>
            <a:r>
              <a:rPr lang="en-US" sz="1400" b="0" i="0">
                <a:latin typeface="+mn-lt"/>
              </a:rPr>
              <a:t>.</a:t>
            </a:r>
            <a:endParaRPr lang="en-US" sz="1400" b="0" i="0">
              <a:latin typeface="+mn-lt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84CBD8-14D9-9499-4016-69F08CBD4DFA}"/>
              </a:ext>
            </a:extLst>
          </p:cNvPr>
          <p:cNvSpPr txBox="1"/>
          <p:nvPr/>
        </p:nvSpPr>
        <p:spPr>
          <a:xfrm>
            <a:off x="6092348" y="4512027"/>
            <a:ext cx="5949227" cy="1358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 b="0" i="0" dirty="0">
                <a:latin typeface="+mn-lt"/>
              </a:rPr>
              <a:t>The </a:t>
            </a:r>
            <a:r>
              <a:rPr lang="en-US" sz="1400" b="1" i="0" dirty="0">
                <a:latin typeface="+mn-lt"/>
              </a:rPr>
              <a:t>major reasons</a:t>
            </a:r>
            <a:r>
              <a:rPr lang="en-US" sz="1400" b="0" i="0" dirty="0">
                <a:latin typeface="+mn-lt"/>
              </a:rPr>
              <a:t> for patient not getting admitted as per the model are </a:t>
            </a:r>
            <a:r>
              <a:rPr lang="en-US" sz="1400" b="1" i="0" dirty="0">
                <a:latin typeface="+mn-lt"/>
              </a:rPr>
              <a:t>healthcare expenses, healthcare coverage and length of stay.</a:t>
            </a: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 b="0" i="0" dirty="0">
                <a:latin typeface="+mn-lt"/>
              </a:rPr>
              <a:t>Most of the patients who are not getting admitted as inpatients are either poor or have had short encounters previously or are not covered by insurance.</a:t>
            </a: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 criticality of diseases is comparatively low.</a:t>
            </a:r>
            <a:endParaRPr lang="en-US" sz="1400" b="0" i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8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B34F4E-4EF8-EC0E-6EC6-A359D2E9AA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423" y="495027"/>
            <a:ext cx="12436092" cy="5824212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05915D-65FC-7510-20D4-B112AC4986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16955" y="6559836"/>
            <a:ext cx="492123" cy="231921"/>
          </a:xfrm>
        </p:spPr>
        <p:txBody>
          <a:bodyPr/>
          <a:lstStyle/>
          <a:p>
            <a:fld id="{1E3D5677-3D20-0C46-8497-54D73E68904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FD95816-8702-54C7-4B7B-E00F7128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526" y="-181187"/>
            <a:ext cx="12085887" cy="876299"/>
          </a:xfrm>
        </p:spPr>
        <p:txBody>
          <a:bodyPr/>
          <a:lstStyle/>
          <a:p>
            <a:pPr algn="ctr"/>
            <a:r>
              <a:rPr lang="en-US" b="1"/>
              <a:t>Value Add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36FE9D-B92C-1F45-E15C-EA1F1DABA701}"/>
              </a:ext>
            </a:extLst>
          </p:cNvPr>
          <p:cNvGrpSpPr/>
          <p:nvPr/>
        </p:nvGrpSpPr>
        <p:grpSpPr>
          <a:xfrm>
            <a:off x="330822" y="943949"/>
            <a:ext cx="11705294" cy="5375290"/>
            <a:chOff x="836801" y="1218021"/>
            <a:chExt cx="10619118" cy="514244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6DD81D8-1D32-85A0-3FA1-53421532CE1E}"/>
                </a:ext>
              </a:extLst>
            </p:cNvPr>
            <p:cNvGrpSpPr/>
            <p:nvPr/>
          </p:nvGrpSpPr>
          <p:grpSpPr>
            <a:xfrm>
              <a:off x="836801" y="1218021"/>
              <a:ext cx="10619118" cy="5142440"/>
              <a:chOff x="908279" y="1256348"/>
              <a:chExt cx="10619118" cy="514244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580F67C-9208-E64D-3AE8-627EF19CC5F1}"/>
                  </a:ext>
                </a:extLst>
              </p:cNvPr>
              <p:cNvSpPr/>
              <p:nvPr/>
            </p:nvSpPr>
            <p:spPr>
              <a:xfrm>
                <a:off x="8177417" y="1256348"/>
                <a:ext cx="2424737" cy="912776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685800">
                  <a:defRPr/>
                </a:pPr>
                <a:r>
                  <a:rPr lang="en-US" sz="1400" u="sng">
                    <a:solidFill>
                      <a:srgbClr val="1890AD"/>
                    </a:solidFill>
                    <a:latin typeface="Arial"/>
                    <a:cs typeface="Arial"/>
                  </a:rPr>
                  <a:t>RESOURCE ALLOCATION</a:t>
                </a:r>
              </a:p>
              <a:p>
                <a:pPr marL="285750" indent="-285750" defTabSz="685800">
                  <a:buFont typeface="Arial" panose="020B0604020202020204" pitchFamily="34" charset="0"/>
                  <a:buChar char="•"/>
                  <a:defRPr/>
                </a:pP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Helps to allocate </a:t>
                </a:r>
                <a:r>
                  <a:rPr lang="en-US" sz="1400">
                    <a:solidFill>
                      <a:srgbClr val="374151"/>
                    </a:solidFill>
                  </a:rPr>
                  <a:t>resources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 such as 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Staff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 and 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Medical Supplies</a:t>
                </a:r>
                <a:r>
                  <a:rPr lang="en-US" sz="1400" b="1">
                    <a:solidFill>
                      <a:srgbClr val="374151"/>
                    </a:solidFill>
                  </a:rPr>
                  <a:t>.</a:t>
                </a:r>
                <a:endParaRPr lang="en-US" sz="1400" b="1">
                  <a:solidFill>
                    <a:prstClr val="black">
                      <a:lumMod val="65000"/>
                      <a:lumOff val="35000"/>
                    </a:prstClr>
                  </a:solidFill>
                  <a:ea typeface="Batang" panose="0203060000010101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D519E393-5E7D-2F07-8BFF-5F6EAFE2E516}"/>
                  </a:ext>
                </a:extLst>
              </p:cNvPr>
              <p:cNvSpPr/>
              <p:nvPr/>
            </p:nvSpPr>
            <p:spPr>
              <a:xfrm>
                <a:off x="8642629" y="3151736"/>
                <a:ext cx="2884768" cy="1118888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685800">
                  <a:defRPr/>
                </a:pPr>
                <a:r>
                  <a:rPr lang="en-US" sz="1400" u="sng">
                    <a:solidFill>
                      <a:srgbClr val="3E74AB"/>
                    </a:solidFill>
                    <a:cs typeface="Arial"/>
                  </a:rPr>
                  <a:t>PREVENTIVE CARE INITIATIV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400">
                    <a:solidFill>
                      <a:srgbClr val="374151"/>
                    </a:solidFill>
                  </a:rPr>
                  <a:t>Enables hospitals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 to implement 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targeted preventive care initiatives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.</a:t>
                </a:r>
                <a:br>
                  <a:rPr lang="en-US" sz="1400"/>
                </a:br>
                <a:endParaRPr lang="en-US" sz="1400">
                  <a:solidFill>
                    <a:prstClr val="black">
                      <a:lumMod val="65000"/>
                      <a:lumOff val="35000"/>
                    </a:prstClr>
                  </a:solidFill>
                  <a:ea typeface="Batang" panose="0203060000010101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4AF5699-CCF0-652A-7C2F-AFEEA8770FCA}"/>
                  </a:ext>
                </a:extLst>
              </p:cNvPr>
              <p:cNvSpPr/>
              <p:nvPr/>
            </p:nvSpPr>
            <p:spPr>
              <a:xfrm>
                <a:off x="1728894" y="1331269"/>
                <a:ext cx="2424737" cy="706666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685800">
                  <a:defRPr/>
                </a:pPr>
                <a:r>
                  <a:rPr lang="en-US" sz="1400" u="sng">
                    <a:solidFill>
                      <a:srgbClr val="04A597"/>
                    </a:solidFill>
                    <a:latin typeface="Arial"/>
                    <a:cs typeface="Arial"/>
                  </a:rPr>
                  <a:t>FINANCIAL MANAGEMENT</a:t>
                </a:r>
              </a:p>
              <a:p>
                <a:pPr marL="285750" indent="-285750" defTabSz="685800">
                  <a:buFont typeface="Arial"/>
                  <a:buChar char="•"/>
                  <a:defRPr/>
                </a:pPr>
                <a:r>
                  <a:rPr lang="en-US" sz="1400" b="1">
                    <a:cs typeface="Arial"/>
                  </a:rPr>
                  <a:t>Planning</a:t>
                </a:r>
                <a:r>
                  <a:rPr lang="en-US" sz="1400">
                    <a:cs typeface="Arial"/>
                  </a:rPr>
                  <a:t> and </a:t>
                </a:r>
                <a:r>
                  <a:rPr lang="en-US" sz="1400" b="1">
                    <a:cs typeface="Arial"/>
                  </a:rPr>
                  <a:t>budgeting</a:t>
                </a:r>
                <a:r>
                  <a:rPr lang="en-US" sz="1400">
                    <a:cs typeface="Arial"/>
                  </a:rPr>
                  <a:t>.</a:t>
                </a:r>
              </a:p>
              <a:p>
                <a:pPr marL="285750" indent="-285750" defTabSz="685800">
                  <a:buFont typeface="Arial"/>
                  <a:buChar char="•"/>
                  <a:defRPr/>
                </a:pPr>
                <a:r>
                  <a:rPr lang="en-US" sz="1400">
                    <a:latin typeface="Arial"/>
                    <a:ea typeface="Batang"/>
                    <a:cs typeface="Arial"/>
                  </a:rPr>
                  <a:t>Revenue Estimation.</a:t>
                </a:r>
                <a:endParaRPr lang="en-US" sz="1400">
                  <a:latin typeface="Arial" panose="020B0604020202020204" pitchFamily="34" charset="0"/>
                  <a:ea typeface="Batang" panose="02030600000101010101" pitchFamily="18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F64A350E-53FC-9590-E367-F702620203B1}"/>
                  </a:ext>
                </a:extLst>
              </p:cNvPr>
              <p:cNvSpPr/>
              <p:nvPr/>
            </p:nvSpPr>
            <p:spPr>
              <a:xfrm>
                <a:off x="908279" y="3151735"/>
                <a:ext cx="2916567" cy="1118888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685800">
                  <a:defRPr/>
                </a:pPr>
                <a:r>
                  <a:rPr lang="en-US" sz="1400" u="sng">
                    <a:solidFill>
                      <a:srgbClr val="775CA3"/>
                    </a:solidFill>
                    <a:latin typeface="Arial"/>
                    <a:cs typeface="Arial"/>
                  </a:rPr>
                  <a:t>BED ALLOCATION</a:t>
                </a:r>
              </a:p>
              <a:p>
                <a:pPr marL="285750" indent="-285750" defTabSz="685800">
                  <a:buFont typeface="Arial"/>
                  <a:buChar char="•"/>
                  <a:defRPr/>
                </a:pPr>
                <a:r>
                  <a:rPr lang="en-US" sz="1400">
                    <a:ea typeface="Batang"/>
                    <a:cs typeface="Segoe UI"/>
                  </a:rPr>
                  <a:t>Helps hospitals to know the </a:t>
                </a:r>
                <a:r>
                  <a:rPr lang="en-US" sz="1400" b="1">
                    <a:ea typeface="Batang"/>
                    <a:cs typeface="Segoe UI"/>
                  </a:rPr>
                  <a:t>number of beds required </a:t>
                </a:r>
                <a:r>
                  <a:rPr lang="en-US" sz="1400">
                    <a:ea typeface="Batang"/>
                    <a:cs typeface="Segoe UI"/>
                  </a:rPr>
                  <a:t>and the point of time when </a:t>
                </a:r>
                <a:r>
                  <a:rPr lang="en-US" sz="1400" b="1">
                    <a:ea typeface="Batang"/>
                    <a:cs typeface="Segoe UI"/>
                  </a:rPr>
                  <a:t>bed demand </a:t>
                </a:r>
                <a:r>
                  <a:rPr lang="en-US" sz="1400">
                    <a:ea typeface="Batang"/>
                    <a:cs typeface="Segoe UI"/>
                  </a:rPr>
                  <a:t>will be </a:t>
                </a:r>
                <a:r>
                  <a:rPr lang="en-US" sz="1400" b="1">
                    <a:ea typeface="Batang"/>
                    <a:cs typeface="Segoe UI"/>
                  </a:rPr>
                  <a:t>high</a:t>
                </a:r>
                <a:r>
                  <a:rPr lang="en-US" sz="1400">
                    <a:ea typeface="Batang"/>
                    <a:cs typeface="Segoe UI"/>
                  </a:rPr>
                  <a:t>.</a:t>
                </a:r>
                <a:endParaRPr lang="en-US" sz="1400">
                  <a:ea typeface="Batang" panose="02030600000101010101" pitchFamily="18" charset="-127"/>
                  <a:cs typeface="Segoe UI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DFA83C6-3292-3743-313B-03BF4EC71950}"/>
                  </a:ext>
                </a:extLst>
              </p:cNvPr>
              <p:cNvSpPr/>
              <p:nvPr/>
            </p:nvSpPr>
            <p:spPr>
              <a:xfrm>
                <a:off x="8736305" y="5073789"/>
                <a:ext cx="2424737" cy="1324999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defTabSz="685800">
                  <a:defRPr/>
                </a:pPr>
                <a:r>
                  <a:rPr lang="en-US" sz="1400" u="sng">
                    <a:solidFill>
                      <a:srgbClr val="9D649E"/>
                    </a:solidFill>
                    <a:latin typeface="Arial"/>
                    <a:cs typeface="Arial"/>
                  </a:rPr>
                  <a:t>PATIENT QUALITY CARE</a:t>
                </a:r>
              </a:p>
              <a:p>
                <a:pPr marL="285750" indent="-285750" defTabSz="685800">
                  <a:buFont typeface="Arial"/>
                  <a:buChar char="•"/>
                  <a:defRPr/>
                </a:pPr>
                <a:r>
                  <a:rPr lang="en-US" sz="1400">
                    <a:solidFill>
                      <a:srgbClr val="374151"/>
                    </a:solidFill>
                  </a:rPr>
                  <a:t>H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elp hospitals 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anticipate potential surges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 and prepare in advance</a:t>
                </a:r>
                <a:r>
                  <a:rPr lang="en-US" sz="1400">
                    <a:solidFill>
                      <a:srgbClr val="374151"/>
                    </a:solidFill>
                  </a:rPr>
                  <a:t>. </a:t>
                </a:r>
                <a:endParaRPr lang="en-US" sz="1400" b="0" i="0">
                  <a:solidFill>
                    <a:srgbClr val="374151"/>
                  </a:solidFill>
                  <a:effectLst/>
                  <a:cs typeface="Arial"/>
                </a:endParaRPr>
              </a:p>
              <a:p>
                <a:pPr marL="285750" indent="-285750" defTabSz="685800">
                  <a:buFont typeface="Arial"/>
                  <a:buChar char="•"/>
                  <a:defRPr/>
                </a:pPr>
                <a:r>
                  <a:rPr lang="en-US" sz="1400" b="1">
                    <a:solidFill>
                      <a:srgbClr val="374151"/>
                    </a:solidFill>
                  </a:rPr>
                  <a:t>T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imely attention 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and </a:t>
                </a:r>
                <a:r>
                  <a:rPr lang="en-US" sz="1400" b="1" i="0">
                    <a:solidFill>
                      <a:srgbClr val="374151"/>
                    </a:solidFill>
                    <a:effectLst/>
                  </a:rPr>
                  <a:t>treatment</a:t>
                </a:r>
                <a:r>
                  <a:rPr lang="en-US" sz="1400" b="0" i="0">
                    <a:solidFill>
                      <a:srgbClr val="374151"/>
                    </a:solidFill>
                    <a:effectLst/>
                  </a:rPr>
                  <a:t> for patients.</a:t>
                </a:r>
                <a:endParaRPr lang="en-US" sz="1400">
                  <a:solidFill>
                    <a:prstClr val="black">
                      <a:lumMod val="65000"/>
                      <a:lumOff val="35000"/>
                    </a:prstClr>
                  </a:solidFill>
                  <a:ea typeface="Batang" panose="02030600000101010101" pitchFamily="18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0DFF76B-C5CD-A9F9-DA4E-8D1203417D7B}"/>
                </a:ext>
              </a:extLst>
            </p:cNvPr>
            <p:cNvGrpSpPr/>
            <p:nvPr/>
          </p:nvGrpSpPr>
          <p:grpSpPr>
            <a:xfrm>
              <a:off x="3706166" y="1265279"/>
              <a:ext cx="4779669" cy="4777363"/>
              <a:chOff x="3706166" y="1215215"/>
              <a:chExt cx="4779669" cy="4777363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A3776AAD-FAA1-E793-AB00-B877A4814A31}"/>
                  </a:ext>
                </a:extLst>
              </p:cNvPr>
              <p:cNvGrpSpPr/>
              <p:nvPr/>
            </p:nvGrpSpPr>
            <p:grpSpPr>
              <a:xfrm>
                <a:off x="3706166" y="1215215"/>
                <a:ext cx="4779669" cy="4777363"/>
                <a:chOff x="3706166" y="1215215"/>
                <a:chExt cx="4779669" cy="4777363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9A2AA42A-172C-02FE-9AEA-DF7F26C1D626}"/>
                    </a:ext>
                  </a:extLst>
                </p:cNvPr>
                <p:cNvGrpSpPr/>
                <p:nvPr/>
              </p:nvGrpSpPr>
              <p:grpSpPr>
                <a:xfrm>
                  <a:off x="3706166" y="1215215"/>
                  <a:ext cx="4779669" cy="4777363"/>
                  <a:chOff x="3904433" y="1215215"/>
                  <a:chExt cx="4779669" cy="4777363"/>
                </a:xfrm>
              </p:grpSpPr>
              <p:sp>
                <p:nvSpPr>
                  <p:cNvPr id="27" name="Freeform: Shape 26">
                    <a:extLst>
                      <a:ext uri="{FF2B5EF4-FFF2-40B4-BE49-F238E27FC236}">
                        <a16:creationId xmlns:a16="http://schemas.microsoft.com/office/drawing/2014/main" id="{E429840F-87F3-85E3-CCC9-2B42DF52DEAD}"/>
                      </a:ext>
                    </a:extLst>
                  </p:cNvPr>
                  <p:cNvSpPr/>
                  <p:nvPr/>
                </p:nvSpPr>
                <p:spPr>
                  <a:xfrm>
                    <a:off x="4238074" y="1215216"/>
                    <a:ext cx="2432347" cy="1774149"/>
                  </a:xfrm>
                  <a:custGeom>
                    <a:avLst/>
                    <a:gdLst>
                      <a:gd name="connsiteX0" fmla="*/ 2033335 w 2432347"/>
                      <a:gd name="connsiteY0" fmla="*/ 0 h 1774149"/>
                      <a:gd name="connsiteX1" fmla="*/ 2033335 w 2432347"/>
                      <a:gd name="connsiteY1" fmla="*/ 485433 h 1774149"/>
                      <a:gd name="connsiteX2" fmla="*/ 2063612 w 2432347"/>
                      <a:gd name="connsiteY2" fmla="*/ 440527 h 1774149"/>
                      <a:gd name="connsiteX3" fmla="*/ 2216347 w 2432347"/>
                      <a:gd name="connsiteY3" fmla="*/ 377262 h 1774149"/>
                      <a:gd name="connsiteX4" fmla="*/ 2432347 w 2432347"/>
                      <a:gd name="connsiteY4" fmla="*/ 593262 h 1774149"/>
                      <a:gd name="connsiteX5" fmla="*/ 2216347 w 2432347"/>
                      <a:gd name="connsiteY5" fmla="*/ 809262 h 1774149"/>
                      <a:gd name="connsiteX6" fmla="*/ 2063612 w 2432347"/>
                      <a:gd name="connsiteY6" fmla="*/ 745997 h 1774149"/>
                      <a:gd name="connsiteX7" fmla="*/ 2033335 w 2432347"/>
                      <a:gd name="connsiteY7" fmla="*/ 701091 h 1774149"/>
                      <a:gd name="connsiteX8" fmla="*/ 2033335 w 2432347"/>
                      <a:gd name="connsiteY8" fmla="*/ 1198939 h 1774149"/>
                      <a:gd name="connsiteX9" fmla="*/ 1934432 w 2432347"/>
                      <a:gd name="connsiteY9" fmla="*/ 1203933 h 1774149"/>
                      <a:gd name="connsiteX10" fmla="*/ 1068684 w 2432347"/>
                      <a:gd name="connsiteY10" fmla="*/ 1722840 h 1774149"/>
                      <a:gd name="connsiteX11" fmla="*/ 1037513 w 2432347"/>
                      <a:gd name="connsiteY11" fmla="*/ 1774149 h 1774149"/>
                      <a:gd name="connsiteX12" fmla="*/ 719876 w 2432347"/>
                      <a:gd name="connsiteY12" fmla="*/ 1590761 h 1774149"/>
                      <a:gd name="connsiteX13" fmla="*/ 741409 w 2432347"/>
                      <a:gd name="connsiteY13" fmla="*/ 1579073 h 1774149"/>
                      <a:gd name="connsiteX14" fmla="*/ 860449 w 2432347"/>
                      <a:gd name="connsiteY14" fmla="*/ 1355185 h 1774149"/>
                      <a:gd name="connsiteX15" fmla="*/ 590449 w 2432347"/>
                      <a:gd name="connsiteY15" fmla="*/ 1085185 h 1774149"/>
                      <a:gd name="connsiteX16" fmla="*/ 320449 w 2432347"/>
                      <a:gd name="connsiteY16" fmla="*/ 1355185 h 1774149"/>
                      <a:gd name="connsiteX17" fmla="*/ 320981 w 2432347"/>
                      <a:gd name="connsiteY17" fmla="*/ 1360459 h 1774149"/>
                      <a:gd name="connsiteX18" fmla="*/ 0 w 2432347"/>
                      <a:gd name="connsiteY18" fmla="*/ 1175141 h 1774149"/>
                      <a:gd name="connsiteX19" fmla="*/ 74505 w 2432347"/>
                      <a:gd name="connsiteY19" fmla="*/ 1052502 h 1774149"/>
                      <a:gd name="connsiteX20" fmla="*/ 1811847 w 2432347"/>
                      <a:gd name="connsiteY20" fmla="*/ 11184 h 1774149"/>
                      <a:gd name="connsiteX21" fmla="*/ 2033335 w 2432347"/>
                      <a:gd name="connsiteY21" fmla="*/ 0 h 1774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432347" h="1774149">
                        <a:moveTo>
                          <a:pt x="2033335" y="0"/>
                        </a:moveTo>
                        <a:lnTo>
                          <a:pt x="2033335" y="485433"/>
                        </a:lnTo>
                        <a:lnTo>
                          <a:pt x="2063612" y="440527"/>
                        </a:lnTo>
                        <a:cubicBezTo>
                          <a:pt x="2102700" y="401439"/>
                          <a:pt x="2156700" y="377262"/>
                          <a:pt x="2216347" y="377262"/>
                        </a:cubicBezTo>
                        <a:cubicBezTo>
                          <a:pt x="2335641" y="377262"/>
                          <a:pt x="2432347" y="473968"/>
                          <a:pt x="2432347" y="593262"/>
                        </a:cubicBezTo>
                        <a:cubicBezTo>
                          <a:pt x="2432347" y="712556"/>
                          <a:pt x="2335641" y="809262"/>
                          <a:pt x="2216347" y="809262"/>
                        </a:cubicBezTo>
                        <a:cubicBezTo>
                          <a:pt x="2156700" y="809262"/>
                          <a:pt x="2102700" y="785086"/>
                          <a:pt x="2063612" y="745997"/>
                        </a:cubicBezTo>
                        <a:lnTo>
                          <a:pt x="2033335" y="701091"/>
                        </a:lnTo>
                        <a:lnTo>
                          <a:pt x="2033335" y="1198939"/>
                        </a:lnTo>
                        <a:lnTo>
                          <a:pt x="1934432" y="1203933"/>
                        </a:lnTo>
                        <a:cubicBezTo>
                          <a:pt x="1574122" y="1240525"/>
                          <a:pt x="1261296" y="1437737"/>
                          <a:pt x="1068684" y="1722840"/>
                        </a:cubicBezTo>
                        <a:lnTo>
                          <a:pt x="1037513" y="1774149"/>
                        </a:lnTo>
                        <a:lnTo>
                          <a:pt x="719876" y="1590761"/>
                        </a:lnTo>
                        <a:lnTo>
                          <a:pt x="741409" y="1579073"/>
                        </a:lnTo>
                        <a:cubicBezTo>
                          <a:pt x="813229" y="1530552"/>
                          <a:pt x="860449" y="1448383"/>
                          <a:pt x="860449" y="1355185"/>
                        </a:cubicBezTo>
                        <a:cubicBezTo>
                          <a:pt x="860449" y="1206068"/>
                          <a:pt x="739566" y="1085185"/>
                          <a:pt x="590449" y="1085185"/>
                        </a:cubicBezTo>
                        <a:cubicBezTo>
                          <a:pt x="441332" y="1085185"/>
                          <a:pt x="320449" y="1206068"/>
                          <a:pt x="320449" y="1355185"/>
                        </a:cubicBezTo>
                        <a:lnTo>
                          <a:pt x="320981" y="1360459"/>
                        </a:lnTo>
                        <a:lnTo>
                          <a:pt x="0" y="1175141"/>
                        </a:lnTo>
                        <a:lnTo>
                          <a:pt x="74505" y="1052502"/>
                        </a:lnTo>
                        <a:cubicBezTo>
                          <a:pt x="461029" y="480372"/>
                          <a:pt x="1088794" y="84615"/>
                          <a:pt x="1811847" y="11184"/>
                        </a:cubicBezTo>
                        <a:lnTo>
                          <a:pt x="2033335" y="0"/>
                        </a:lnTo>
                        <a:close/>
                      </a:path>
                    </a:pathLst>
                  </a:custGeom>
                  <a:solidFill>
                    <a:srgbClr val="04A597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350"/>
                  </a:p>
                </p:txBody>
              </p: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04686A8D-4111-4AE3-0A3F-6FEF88D5A440}"/>
                      </a:ext>
                    </a:extLst>
                  </p:cNvPr>
                  <p:cNvSpPr/>
                  <p:nvPr/>
                </p:nvSpPr>
                <p:spPr>
                  <a:xfrm>
                    <a:off x="6317127" y="1215215"/>
                    <a:ext cx="2033334" cy="1843508"/>
                  </a:xfrm>
                  <a:custGeom>
                    <a:avLst/>
                    <a:gdLst>
                      <a:gd name="connsiteX0" fmla="*/ 0 w 2033334"/>
                      <a:gd name="connsiteY0" fmla="*/ 0 h 1843508"/>
                      <a:gd name="connsiteX1" fmla="*/ 221487 w 2033334"/>
                      <a:gd name="connsiteY1" fmla="*/ 11184 h 1843508"/>
                      <a:gd name="connsiteX2" fmla="*/ 1958829 w 2033334"/>
                      <a:gd name="connsiteY2" fmla="*/ 1052502 h 1843508"/>
                      <a:gd name="connsiteX3" fmla="*/ 2033334 w 2033334"/>
                      <a:gd name="connsiteY3" fmla="*/ 1175141 h 1843508"/>
                      <a:gd name="connsiteX4" fmla="*/ 1622947 w 2033334"/>
                      <a:gd name="connsiteY4" fmla="*/ 1412079 h 1843508"/>
                      <a:gd name="connsiteX5" fmla="*/ 1660820 w 2033334"/>
                      <a:gd name="connsiteY5" fmla="*/ 1415896 h 1843508"/>
                      <a:gd name="connsiteX6" fmla="*/ 1833288 w 2033334"/>
                      <a:gd name="connsiteY6" fmla="*/ 1627508 h 1843508"/>
                      <a:gd name="connsiteX7" fmla="*/ 1617288 w 2033334"/>
                      <a:gd name="connsiteY7" fmla="*/ 1843508 h 1843508"/>
                      <a:gd name="connsiteX8" fmla="*/ 1401288 w 2033334"/>
                      <a:gd name="connsiteY8" fmla="*/ 1627508 h 1843508"/>
                      <a:gd name="connsiteX9" fmla="*/ 1418263 w 2033334"/>
                      <a:gd name="connsiteY9" fmla="*/ 1543431 h 1843508"/>
                      <a:gd name="connsiteX10" fmla="*/ 1432810 w 2033334"/>
                      <a:gd name="connsiteY10" fmla="*/ 1521854 h 1843508"/>
                      <a:gd name="connsiteX11" fmla="*/ 995821 w 2033334"/>
                      <a:gd name="connsiteY11" fmla="*/ 1774150 h 1843508"/>
                      <a:gd name="connsiteX12" fmla="*/ 964650 w 2033334"/>
                      <a:gd name="connsiteY12" fmla="*/ 1722840 h 1843508"/>
                      <a:gd name="connsiteX13" fmla="*/ 98902 w 2033334"/>
                      <a:gd name="connsiteY13" fmla="*/ 1203933 h 1843508"/>
                      <a:gd name="connsiteX14" fmla="*/ 0 w 2033334"/>
                      <a:gd name="connsiteY14" fmla="*/ 1198939 h 1843508"/>
                      <a:gd name="connsiteX15" fmla="*/ 0 w 2033334"/>
                      <a:gd name="connsiteY15" fmla="*/ 824569 h 1843508"/>
                      <a:gd name="connsiteX16" fmla="*/ 32198 w 2033334"/>
                      <a:gd name="connsiteY16" fmla="*/ 842045 h 1843508"/>
                      <a:gd name="connsiteX17" fmla="*/ 137294 w 2033334"/>
                      <a:gd name="connsiteY17" fmla="*/ 863263 h 1843508"/>
                      <a:gd name="connsiteX18" fmla="*/ 407294 w 2033334"/>
                      <a:gd name="connsiteY18" fmla="*/ 593263 h 1843508"/>
                      <a:gd name="connsiteX19" fmla="*/ 137294 w 2033334"/>
                      <a:gd name="connsiteY19" fmla="*/ 323263 h 1843508"/>
                      <a:gd name="connsiteX20" fmla="*/ 32198 w 2033334"/>
                      <a:gd name="connsiteY20" fmla="*/ 344481 h 1843508"/>
                      <a:gd name="connsiteX21" fmla="*/ 0 w 2033334"/>
                      <a:gd name="connsiteY21" fmla="*/ 361957 h 18435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033334" h="1843508">
                        <a:moveTo>
                          <a:pt x="0" y="0"/>
                        </a:moveTo>
                        <a:lnTo>
                          <a:pt x="221487" y="11184"/>
                        </a:lnTo>
                        <a:cubicBezTo>
                          <a:pt x="944540" y="84615"/>
                          <a:pt x="1572305" y="480372"/>
                          <a:pt x="1958829" y="1052502"/>
                        </a:cubicBezTo>
                        <a:lnTo>
                          <a:pt x="2033334" y="1175141"/>
                        </a:lnTo>
                        <a:lnTo>
                          <a:pt x="1622947" y="1412079"/>
                        </a:lnTo>
                        <a:lnTo>
                          <a:pt x="1660820" y="1415896"/>
                        </a:lnTo>
                        <a:cubicBezTo>
                          <a:pt x="1759248" y="1436038"/>
                          <a:pt x="1833288" y="1523126"/>
                          <a:pt x="1833288" y="1627508"/>
                        </a:cubicBezTo>
                        <a:cubicBezTo>
                          <a:pt x="1833288" y="1746802"/>
                          <a:pt x="1736582" y="1843508"/>
                          <a:pt x="1617288" y="1843508"/>
                        </a:cubicBezTo>
                        <a:cubicBezTo>
                          <a:pt x="1497994" y="1843508"/>
                          <a:pt x="1401288" y="1746802"/>
                          <a:pt x="1401288" y="1627508"/>
                        </a:cubicBezTo>
                        <a:cubicBezTo>
                          <a:pt x="1401288" y="1597685"/>
                          <a:pt x="1407332" y="1569273"/>
                          <a:pt x="1418263" y="1543431"/>
                        </a:cubicBezTo>
                        <a:lnTo>
                          <a:pt x="1432810" y="1521854"/>
                        </a:lnTo>
                        <a:lnTo>
                          <a:pt x="995821" y="1774150"/>
                        </a:lnTo>
                        <a:lnTo>
                          <a:pt x="964650" y="1722840"/>
                        </a:lnTo>
                        <a:cubicBezTo>
                          <a:pt x="772039" y="1437737"/>
                          <a:pt x="459213" y="1240525"/>
                          <a:pt x="98902" y="1203933"/>
                        </a:cubicBezTo>
                        <a:lnTo>
                          <a:pt x="0" y="1198939"/>
                        </a:lnTo>
                        <a:lnTo>
                          <a:pt x="0" y="824569"/>
                        </a:lnTo>
                        <a:lnTo>
                          <a:pt x="32198" y="842045"/>
                        </a:lnTo>
                        <a:cubicBezTo>
                          <a:pt x="64500" y="855708"/>
                          <a:pt x="100015" y="863263"/>
                          <a:pt x="137294" y="863263"/>
                        </a:cubicBezTo>
                        <a:cubicBezTo>
                          <a:pt x="286411" y="863263"/>
                          <a:pt x="407294" y="742380"/>
                          <a:pt x="407294" y="593263"/>
                        </a:cubicBezTo>
                        <a:cubicBezTo>
                          <a:pt x="407294" y="444146"/>
                          <a:pt x="286411" y="323263"/>
                          <a:pt x="137294" y="323263"/>
                        </a:cubicBezTo>
                        <a:cubicBezTo>
                          <a:pt x="100015" y="323263"/>
                          <a:pt x="64500" y="330818"/>
                          <a:pt x="32198" y="344481"/>
                        </a:cubicBezTo>
                        <a:lnTo>
                          <a:pt x="0" y="361957"/>
                        </a:lnTo>
                        <a:close/>
                      </a:path>
                    </a:pathLst>
                  </a:custGeom>
                  <a:solidFill>
                    <a:srgbClr val="1890AD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350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8D032BF7-D3FD-D0D8-C44D-AC8847664069}"/>
                      </a:ext>
                    </a:extLst>
                  </p:cNvPr>
                  <p:cNvSpPr/>
                  <p:nvPr/>
                </p:nvSpPr>
                <p:spPr>
                  <a:xfrm>
                    <a:off x="3904433" y="2354401"/>
                    <a:ext cx="1347411" cy="2423952"/>
                  </a:xfrm>
                  <a:custGeom>
                    <a:avLst/>
                    <a:gdLst>
                      <a:gd name="connsiteX0" fmla="*/ 924090 w 1347411"/>
                      <a:gd name="connsiteY0" fmla="*/ 0 h 2423952"/>
                      <a:gd name="connsiteX1" fmla="*/ 1140090 w 1347411"/>
                      <a:gd name="connsiteY1" fmla="*/ 216000 h 2423952"/>
                      <a:gd name="connsiteX2" fmla="*/ 1008167 w 1347411"/>
                      <a:gd name="connsiteY2" fmla="*/ 415026 h 2423952"/>
                      <a:gd name="connsiteX3" fmla="*/ 927116 w 1347411"/>
                      <a:gd name="connsiteY3" fmla="*/ 431389 h 2423952"/>
                      <a:gd name="connsiteX4" fmla="*/ 1347411 w 1347411"/>
                      <a:gd name="connsiteY4" fmla="*/ 674047 h 2423952"/>
                      <a:gd name="connsiteX5" fmla="*/ 1342674 w 1347411"/>
                      <a:gd name="connsiteY5" fmla="*/ 681843 h 2423952"/>
                      <a:gd name="connsiteX6" fmla="*/ 1198939 w 1347411"/>
                      <a:gd name="connsiteY6" fmla="*/ 1249495 h 2423952"/>
                      <a:gd name="connsiteX7" fmla="*/ 1342674 w 1347411"/>
                      <a:gd name="connsiteY7" fmla="*/ 1817147 h 2423952"/>
                      <a:gd name="connsiteX8" fmla="*/ 1347411 w 1347411"/>
                      <a:gd name="connsiteY8" fmla="*/ 1824944 h 2423952"/>
                      <a:gd name="connsiteX9" fmla="*/ 1021214 w 1347411"/>
                      <a:gd name="connsiteY9" fmla="*/ 2013274 h 2423952"/>
                      <a:gd name="connsiteX10" fmla="*/ 1015808 w 1347411"/>
                      <a:gd name="connsiteY10" fmla="*/ 1959641 h 2423952"/>
                      <a:gd name="connsiteX11" fmla="*/ 751293 w 1347411"/>
                      <a:gd name="connsiteY11" fmla="*/ 1744055 h 2423952"/>
                      <a:gd name="connsiteX12" fmla="*/ 481293 w 1347411"/>
                      <a:gd name="connsiteY12" fmla="*/ 2014055 h 2423952"/>
                      <a:gd name="connsiteX13" fmla="*/ 600333 w 1347411"/>
                      <a:gd name="connsiteY13" fmla="*/ 2237943 h 2423952"/>
                      <a:gd name="connsiteX14" fmla="*/ 616694 w 1347411"/>
                      <a:gd name="connsiteY14" fmla="*/ 2246824 h 2423952"/>
                      <a:gd name="connsiteX15" fmla="*/ 309898 w 1347411"/>
                      <a:gd name="connsiteY15" fmla="*/ 2423952 h 2423952"/>
                      <a:gd name="connsiteX16" fmla="*/ 288440 w 1347411"/>
                      <a:gd name="connsiteY16" fmla="*/ 2388632 h 2423952"/>
                      <a:gd name="connsiteX17" fmla="*/ 0 w 1347411"/>
                      <a:gd name="connsiteY17" fmla="*/ 1249495 h 2423952"/>
                      <a:gd name="connsiteX18" fmla="*/ 288440 w 1347411"/>
                      <a:gd name="connsiteY18" fmla="*/ 110358 h 2423952"/>
                      <a:gd name="connsiteX19" fmla="*/ 309898 w 1347411"/>
                      <a:gd name="connsiteY19" fmla="*/ 75038 h 2423952"/>
                      <a:gd name="connsiteX20" fmla="*/ 741245 w 1347411"/>
                      <a:gd name="connsiteY20" fmla="*/ 324077 h 2423952"/>
                      <a:gd name="connsiteX21" fmla="*/ 725065 w 1347411"/>
                      <a:gd name="connsiteY21" fmla="*/ 300077 h 2423952"/>
                      <a:gd name="connsiteX22" fmla="*/ 708090 w 1347411"/>
                      <a:gd name="connsiteY22" fmla="*/ 216000 h 2423952"/>
                      <a:gd name="connsiteX23" fmla="*/ 924090 w 1347411"/>
                      <a:gd name="connsiteY23" fmla="*/ 0 h 2423952"/>
                      <a:gd name="connsiteX0" fmla="*/ 924090 w 1347411"/>
                      <a:gd name="connsiteY0" fmla="*/ 0 h 2423952"/>
                      <a:gd name="connsiteX1" fmla="*/ 1140090 w 1347411"/>
                      <a:gd name="connsiteY1" fmla="*/ 216000 h 2423952"/>
                      <a:gd name="connsiteX2" fmla="*/ 1008167 w 1347411"/>
                      <a:gd name="connsiteY2" fmla="*/ 415026 h 2423952"/>
                      <a:gd name="connsiteX3" fmla="*/ 927116 w 1347411"/>
                      <a:gd name="connsiteY3" fmla="*/ 431389 h 2423952"/>
                      <a:gd name="connsiteX4" fmla="*/ 1347411 w 1347411"/>
                      <a:gd name="connsiteY4" fmla="*/ 674047 h 2423952"/>
                      <a:gd name="connsiteX5" fmla="*/ 1342674 w 1347411"/>
                      <a:gd name="connsiteY5" fmla="*/ 681843 h 2423952"/>
                      <a:gd name="connsiteX6" fmla="*/ 1198939 w 1347411"/>
                      <a:gd name="connsiteY6" fmla="*/ 1249495 h 2423952"/>
                      <a:gd name="connsiteX7" fmla="*/ 1342674 w 1347411"/>
                      <a:gd name="connsiteY7" fmla="*/ 1817147 h 2423952"/>
                      <a:gd name="connsiteX8" fmla="*/ 1347411 w 1347411"/>
                      <a:gd name="connsiteY8" fmla="*/ 1824944 h 2423952"/>
                      <a:gd name="connsiteX9" fmla="*/ 1021214 w 1347411"/>
                      <a:gd name="connsiteY9" fmla="*/ 2013274 h 2423952"/>
                      <a:gd name="connsiteX10" fmla="*/ 1015808 w 1347411"/>
                      <a:gd name="connsiteY10" fmla="*/ 1959641 h 2423952"/>
                      <a:gd name="connsiteX11" fmla="*/ 751293 w 1347411"/>
                      <a:gd name="connsiteY11" fmla="*/ 1744055 h 2423952"/>
                      <a:gd name="connsiteX12" fmla="*/ 481293 w 1347411"/>
                      <a:gd name="connsiteY12" fmla="*/ 2014055 h 2423952"/>
                      <a:gd name="connsiteX13" fmla="*/ 600333 w 1347411"/>
                      <a:gd name="connsiteY13" fmla="*/ 2237943 h 2423952"/>
                      <a:gd name="connsiteX14" fmla="*/ 616694 w 1347411"/>
                      <a:gd name="connsiteY14" fmla="*/ 2246824 h 2423952"/>
                      <a:gd name="connsiteX15" fmla="*/ 309898 w 1347411"/>
                      <a:gd name="connsiteY15" fmla="*/ 2423952 h 2423952"/>
                      <a:gd name="connsiteX16" fmla="*/ 288440 w 1347411"/>
                      <a:gd name="connsiteY16" fmla="*/ 2388632 h 2423952"/>
                      <a:gd name="connsiteX17" fmla="*/ 0 w 1347411"/>
                      <a:gd name="connsiteY17" fmla="*/ 1249495 h 2423952"/>
                      <a:gd name="connsiteX18" fmla="*/ 288440 w 1347411"/>
                      <a:gd name="connsiteY18" fmla="*/ 110358 h 2423952"/>
                      <a:gd name="connsiteX19" fmla="*/ 309898 w 1347411"/>
                      <a:gd name="connsiteY19" fmla="*/ 75038 h 2423952"/>
                      <a:gd name="connsiteX20" fmla="*/ 741245 w 1347411"/>
                      <a:gd name="connsiteY20" fmla="*/ 324077 h 2423952"/>
                      <a:gd name="connsiteX21" fmla="*/ 725065 w 1347411"/>
                      <a:gd name="connsiteY21" fmla="*/ 300077 h 2423952"/>
                      <a:gd name="connsiteX22" fmla="*/ 708090 w 1347411"/>
                      <a:gd name="connsiteY22" fmla="*/ 216000 h 2423952"/>
                      <a:gd name="connsiteX23" fmla="*/ 924090 w 1347411"/>
                      <a:gd name="connsiteY23" fmla="*/ 0 h 2423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347411" h="2423952">
                        <a:moveTo>
                          <a:pt x="924090" y="0"/>
                        </a:moveTo>
                        <a:cubicBezTo>
                          <a:pt x="1043384" y="0"/>
                          <a:pt x="1140090" y="96706"/>
                          <a:pt x="1140090" y="216000"/>
                        </a:cubicBezTo>
                        <a:cubicBezTo>
                          <a:pt x="1140090" y="305471"/>
                          <a:pt x="1085693" y="382235"/>
                          <a:pt x="1008167" y="415026"/>
                        </a:cubicBezTo>
                        <a:cubicBezTo>
                          <a:pt x="981150" y="420480"/>
                          <a:pt x="966039" y="428317"/>
                          <a:pt x="927116" y="431389"/>
                        </a:cubicBezTo>
                        <a:lnTo>
                          <a:pt x="1347411" y="674047"/>
                        </a:lnTo>
                        <a:lnTo>
                          <a:pt x="1342674" y="681843"/>
                        </a:lnTo>
                        <a:cubicBezTo>
                          <a:pt x="1251008" y="850585"/>
                          <a:pt x="1198939" y="1043960"/>
                          <a:pt x="1198939" y="1249495"/>
                        </a:cubicBezTo>
                        <a:cubicBezTo>
                          <a:pt x="1198939" y="1455031"/>
                          <a:pt x="1251008" y="1648405"/>
                          <a:pt x="1342674" y="1817147"/>
                        </a:cubicBezTo>
                        <a:lnTo>
                          <a:pt x="1347411" y="1824944"/>
                        </a:lnTo>
                        <a:lnTo>
                          <a:pt x="1021214" y="2013274"/>
                        </a:lnTo>
                        <a:lnTo>
                          <a:pt x="1015808" y="1959641"/>
                        </a:lnTo>
                        <a:cubicBezTo>
                          <a:pt x="990631" y="1836606"/>
                          <a:pt x="881771" y="1744055"/>
                          <a:pt x="751293" y="1744055"/>
                        </a:cubicBezTo>
                        <a:cubicBezTo>
                          <a:pt x="602176" y="1744055"/>
                          <a:pt x="481293" y="1864938"/>
                          <a:pt x="481293" y="2014055"/>
                        </a:cubicBezTo>
                        <a:cubicBezTo>
                          <a:pt x="481293" y="2107253"/>
                          <a:pt x="528513" y="2189423"/>
                          <a:pt x="600333" y="2237943"/>
                        </a:cubicBezTo>
                        <a:lnTo>
                          <a:pt x="616694" y="2246824"/>
                        </a:lnTo>
                        <a:lnTo>
                          <a:pt x="309898" y="2423952"/>
                        </a:lnTo>
                        <a:lnTo>
                          <a:pt x="288440" y="2388632"/>
                        </a:lnTo>
                        <a:cubicBezTo>
                          <a:pt x="104489" y="2050009"/>
                          <a:pt x="0" y="1661954"/>
                          <a:pt x="0" y="1249495"/>
                        </a:cubicBezTo>
                        <a:cubicBezTo>
                          <a:pt x="0" y="837036"/>
                          <a:pt x="104489" y="448982"/>
                          <a:pt x="288440" y="110358"/>
                        </a:cubicBezTo>
                        <a:lnTo>
                          <a:pt x="309898" y="75038"/>
                        </a:lnTo>
                        <a:lnTo>
                          <a:pt x="741245" y="324077"/>
                        </a:lnTo>
                        <a:lnTo>
                          <a:pt x="725065" y="300077"/>
                        </a:lnTo>
                        <a:cubicBezTo>
                          <a:pt x="714134" y="274235"/>
                          <a:pt x="708090" y="245824"/>
                          <a:pt x="708090" y="216000"/>
                        </a:cubicBezTo>
                        <a:cubicBezTo>
                          <a:pt x="708090" y="96706"/>
                          <a:pt x="804796" y="0"/>
                          <a:pt x="924090" y="0"/>
                        </a:cubicBezTo>
                        <a:close/>
                      </a:path>
                    </a:pathLst>
                  </a:custGeom>
                  <a:solidFill>
                    <a:srgbClr val="9D649E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350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675A0D89-7ACF-397B-182C-A18A743F6DA5}"/>
                      </a:ext>
                    </a:extLst>
                  </p:cNvPr>
                  <p:cNvSpPr/>
                  <p:nvPr/>
                </p:nvSpPr>
                <p:spPr>
                  <a:xfrm>
                    <a:off x="7336692" y="2429439"/>
                    <a:ext cx="1347410" cy="2423035"/>
                  </a:xfrm>
                  <a:custGeom>
                    <a:avLst/>
                    <a:gdLst>
                      <a:gd name="connsiteX0" fmla="*/ 1037513 w 1347410"/>
                      <a:gd name="connsiteY0" fmla="*/ 0 h 2423035"/>
                      <a:gd name="connsiteX1" fmla="*/ 1058970 w 1347410"/>
                      <a:gd name="connsiteY1" fmla="*/ 35320 h 2423035"/>
                      <a:gd name="connsiteX2" fmla="*/ 1347410 w 1347410"/>
                      <a:gd name="connsiteY2" fmla="*/ 1174457 h 2423035"/>
                      <a:gd name="connsiteX3" fmla="*/ 1058970 w 1347410"/>
                      <a:gd name="connsiteY3" fmla="*/ 2313594 h 2423035"/>
                      <a:gd name="connsiteX4" fmla="*/ 1037513 w 1347410"/>
                      <a:gd name="connsiteY4" fmla="*/ 2348914 h 2423035"/>
                      <a:gd name="connsiteX5" fmla="*/ 627421 w 1347410"/>
                      <a:gd name="connsiteY5" fmla="*/ 2112147 h 2423035"/>
                      <a:gd name="connsiteX6" fmla="*/ 634710 w 1347410"/>
                      <a:gd name="connsiteY6" fmla="*/ 2122958 h 2423035"/>
                      <a:gd name="connsiteX7" fmla="*/ 651684 w 1347410"/>
                      <a:gd name="connsiteY7" fmla="*/ 2207035 h 2423035"/>
                      <a:gd name="connsiteX8" fmla="*/ 435684 w 1347410"/>
                      <a:gd name="connsiteY8" fmla="*/ 2423035 h 2423035"/>
                      <a:gd name="connsiteX9" fmla="*/ 219684 w 1347410"/>
                      <a:gd name="connsiteY9" fmla="*/ 2207035 h 2423035"/>
                      <a:gd name="connsiteX10" fmla="*/ 351607 w 1347410"/>
                      <a:gd name="connsiteY10" fmla="*/ 2008010 h 2423035"/>
                      <a:gd name="connsiteX11" fmla="*/ 422322 w 1347410"/>
                      <a:gd name="connsiteY11" fmla="*/ 1993733 h 2423035"/>
                      <a:gd name="connsiteX12" fmla="*/ 0 w 1347410"/>
                      <a:gd name="connsiteY12" fmla="*/ 1749905 h 2423035"/>
                      <a:gd name="connsiteX13" fmla="*/ 4736 w 1347410"/>
                      <a:gd name="connsiteY13" fmla="*/ 1742109 h 2423035"/>
                      <a:gd name="connsiteX14" fmla="*/ 148471 w 1347410"/>
                      <a:gd name="connsiteY14" fmla="*/ 1174457 h 2423035"/>
                      <a:gd name="connsiteX15" fmla="*/ 4736 w 1347410"/>
                      <a:gd name="connsiteY15" fmla="*/ 606805 h 2423035"/>
                      <a:gd name="connsiteX16" fmla="*/ 0 w 1347410"/>
                      <a:gd name="connsiteY16" fmla="*/ 599009 h 2423035"/>
                      <a:gd name="connsiteX17" fmla="*/ 328096 w 1347410"/>
                      <a:gd name="connsiteY17" fmla="*/ 409583 h 2423035"/>
                      <a:gd name="connsiteX18" fmla="*/ 327723 w 1347410"/>
                      <a:gd name="connsiteY18" fmla="*/ 413284 h 2423035"/>
                      <a:gd name="connsiteX19" fmla="*/ 597723 w 1347410"/>
                      <a:gd name="connsiteY19" fmla="*/ 683284 h 2423035"/>
                      <a:gd name="connsiteX20" fmla="*/ 867723 w 1347410"/>
                      <a:gd name="connsiteY20" fmla="*/ 413284 h 2423035"/>
                      <a:gd name="connsiteX21" fmla="*/ 748683 w 1347410"/>
                      <a:gd name="connsiteY21" fmla="*/ 189396 h 2423035"/>
                      <a:gd name="connsiteX22" fmla="*/ 728472 w 1347410"/>
                      <a:gd name="connsiteY22" fmla="*/ 178426 h 24230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347410" h="2423035">
                        <a:moveTo>
                          <a:pt x="1037513" y="0"/>
                        </a:moveTo>
                        <a:lnTo>
                          <a:pt x="1058970" y="35320"/>
                        </a:lnTo>
                        <a:cubicBezTo>
                          <a:pt x="1242921" y="373944"/>
                          <a:pt x="1347410" y="761998"/>
                          <a:pt x="1347410" y="1174457"/>
                        </a:cubicBezTo>
                        <a:cubicBezTo>
                          <a:pt x="1347410" y="1586916"/>
                          <a:pt x="1242921" y="1974971"/>
                          <a:pt x="1058970" y="2313594"/>
                        </a:cubicBezTo>
                        <a:lnTo>
                          <a:pt x="1037513" y="2348914"/>
                        </a:lnTo>
                        <a:lnTo>
                          <a:pt x="627421" y="2112147"/>
                        </a:lnTo>
                        <a:lnTo>
                          <a:pt x="634710" y="2122958"/>
                        </a:lnTo>
                        <a:cubicBezTo>
                          <a:pt x="645640" y="2148800"/>
                          <a:pt x="651684" y="2177212"/>
                          <a:pt x="651684" y="2207035"/>
                        </a:cubicBezTo>
                        <a:cubicBezTo>
                          <a:pt x="651684" y="2326329"/>
                          <a:pt x="554978" y="2423035"/>
                          <a:pt x="435684" y="2423035"/>
                        </a:cubicBezTo>
                        <a:cubicBezTo>
                          <a:pt x="316390" y="2423035"/>
                          <a:pt x="219684" y="2326329"/>
                          <a:pt x="219684" y="2207035"/>
                        </a:cubicBezTo>
                        <a:cubicBezTo>
                          <a:pt x="219684" y="2117565"/>
                          <a:pt x="274081" y="2040800"/>
                          <a:pt x="351607" y="2008010"/>
                        </a:cubicBezTo>
                        <a:lnTo>
                          <a:pt x="422322" y="1993733"/>
                        </a:lnTo>
                        <a:lnTo>
                          <a:pt x="0" y="1749905"/>
                        </a:lnTo>
                        <a:lnTo>
                          <a:pt x="4736" y="1742109"/>
                        </a:lnTo>
                        <a:cubicBezTo>
                          <a:pt x="96403" y="1573367"/>
                          <a:pt x="148471" y="1379993"/>
                          <a:pt x="148471" y="1174457"/>
                        </a:cubicBezTo>
                        <a:cubicBezTo>
                          <a:pt x="148471" y="968922"/>
                          <a:pt x="96403" y="775547"/>
                          <a:pt x="4736" y="606805"/>
                        </a:cubicBezTo>
                        <a:lnTo>
                          <a:pt x="0" y="599009"/>
                        </a:lnTo>
                        <a:lnTo>
                          <a:pt x="328096" y="409583"/>
                        </a:lnTo>
                        <a:lnTo>
                          <a:pt x="327723" y="413284"/>
                        </a:lnTo>
                        <a:cubicBezTo>
                          <a:pt x="327723" y="562401"/>
                          <a:pt x="448606" y="683284"/>
                          <a:pt x="597723" y="683284"/>
                        </a:cubicBezTo>
                        <a:cubicBezTo>
                          <a:pt x="746840" y="683284"/>
                          <a:pt x="867723" y="562401"/>
                          <a:pt x="867723" y="413284"/>
                        </a:cubicBezTo>
                        <a:cubicBezTo>
                          <a:pt x="867723" y="320086"/>
                          <a:pt x="820503" y="237917"/>
                          <a:pt x="748683" y="189396"/>
                        </a:cubicBezTo>
                        <a:lnTo>
                          <a:pt x="728472" y="178426"/>
                        </a:lnTo>
                        <a:close/>
                      </a:path>
                    </a:pathLst>
                  </a:custGeom>
                  <a:solidFill>
                    <a:srgbClr val="3E74AB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350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DF450023-C35F-7411-C533-2C719FB868CD}"/>
                      </a:ext>
                    </a:extLst>
                  </p:cNvPr>
                  <p:cNvSpPr/>
                  <p:nvPr/>
                </p:nvSpPr>
                <p:spPr>
                  <a:xfrm>
                    <a:off x="5925724" y="4218429"/>
                    <a:ext cx="2424737" cy="1774149"/>
                  </a:xfrm>
                  <a:custGeom>
                    <a:avLst/>
                    <a:gdLst>
                      <a:gd name="connsiteX0" fmla="*/ 1387224 w 2424737"/>
                      <a:gd name="connsiteY0" fmla="*/ 0 h 1774149"/>
                      <a:gd name="connsiteX1" fmla="*/ 1710033 w 2424737"/>
                      <a:gd name="connsiteY1" fmla="*/ 186374 h 1774149"/>
                      <a:gd name="connsiteX2" fmla="*/ 1695692 w 2424737"/>
                      <a:gd name="connsiteY2" fmla="*/ 194157 h 1774149"/>
                      <a:gd name="connsiteX3" fmla="*/ 1576652 w 2424737"/>
                      <a:gd name="connsiteY3" fmla="*/ 418045 h 1774149"/>
                      <a:gd name="connsiteX4" fmla="*/ 1846652 w 2424737"/>
                      <a:gd name="connsiteY4" fmla="*/ 688045 h 1774149"/>
                      <a:gd name="connsiteX5" fmla="*/ 2111167 w 2424737"/>
                      <a:gd name="connsiteY5" fmla="*/ 472459 h 1774149"/>
                      <a:gd name="connsiteX6" fmla="*/ 2116358 w 2424737"/>
                      <a:gd name="connsiteY6" fmla="*/ 420965 h 1774149"/>
                      <a:gd name="connsiteX7" fmla="*/ 2424737 w 2424737"/>
                      <a:gd name="connsiteY7" fmla="*/ 599008 h 1774149"/>
                      <a:gd name="connsiteX8" fmla="*/ 2350232 w 2424737"/>
                      <a:gd name="connsiteY8" fmla="*/ 721647 h 1774149"/>
                      <a:gd name="connsiteX9" fmla="*/ 612890 w 2424737"/>
                      <a:gd name="connsiteY9" fmla="*/ 1762965 h 1774149"/>
                      <a:gd name="connsiteX10" fmla="*/ 391403 w 2424737"/>
                      <a:gd name="connsiteY10" fmla="*/ 1774149 h 1774149"/>
                      <a:gd name="connsiteX11" fmla="*/ 391403 w 2424737"/>
                      <a:gd name="connsiteY11" fmla="*/ 1306099 h 1774149"/>
                      <a:gd name="connsiteX12" fmla="*/ 368735 w 2424737"/>
                      <a:gd name="connsiteY12" fmla="*/ 1339720 h 1774149"/>
                      <a:gd name="connsiteX13" fmla="*/ 216000 w 2424737"/>
                      <a:gd name="connsiteY13" fmla="*/ 1402984 h 1774149"/>
                      <a:gd name="connsiteX14" fmla="*/ 0 w 2424737"/>
                      <a:gd name="connsiteY14" fmla="*/ 1186984 h 1774149"/>
                      <a:gd name="connsiteX15" fmla="*/ 216000 w 2424737"/>
                      <a:gd name="connsiteY15" fmla="*/ 970984 h 1774149"/>
                      <a:gd name="connsiteX16" fmla="*/ 368735 w 2424737"/>
                      <a:gd name="connsiteY16" fmla="*/ 1034249 h 1774149"/>
                      <a:gd name="connsiteX17" fmla="*/ 391403 w 2424737"/>
                      <a:gd name="connsiteY17" fmla="*/ 1067870 h 1774149"/>
                      <a:gd name="connsiteX18" fmla="*/ 391403 w 2424737"/>
                      <a:gd name="connsiteY18" fmla="*/ 575210 h 1774149"/>
                      <a:gd name="connsiteX19" fmla="*/ 490305 w 2424737"/>
                      <a:gd name="connsiteY19" fmla="*/ 570216 h 1774149"/>
                      <a:gd name="connsiteX20" fmla="*/ 1356053 w 2424737"/>
                      <a:gd name="connsiteY20" fmla="*/ 51309 h 1774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424737" h="1774149">
                        <a:moveTo>
                          <a:pt x="1387224" y="0"/>
                        </a:moveTo>
                        <a:lnTo>
                          <a:pt x="1710033" y="186374"/>
                        </a:lnTo>
                        <a:lnTo>
                          <a:pt x="1695692" y="194157"/>
                        </a:lnTo>
                        <a:cubicBezTo>
                          <a:pt x="1623872" y="242678"/>
                          <a:pt x="1576652" y="324847"/>
                          <a:pt x="1576652" y="418045"/>
                        </a:cubicBezTo>
                        <a:cubicBezTo>
                          <a:pt x="1576652" y="567162"/>
                          <a:pt x="1697535" y="688045"/>
                          <a:pt x="1846652" y="688045"/>
                        </a:cubicBezTo>
                        <a:cubicBezTo>
                          <a:pt x="1977130" y="688045"/>
                          <a:pt x="2085990" y="595494"/>
                          <a:pt x="2111167" y="472459"/>
                        </a:cubicBezTo>
                        <a:lnTo>
                          <a:pt x="2116358" y="420965"/>
                        </a:lnTo>
                        <a:lnTo>
                          <a:pt x="2424737" y="599008"/>
                        </a:lnTo>
                        <a:lnTo>
                          <a:pt x="2350232" y="721647"/>
                        </a:lnTo>
                        <a:cubicBezTo>
                          <a:pt x="1963708" y="1293778"/>
                          <a:pt x="1335943" y="1689535"/>
                          <a:pt x="612890" y="1762965"/>
                        </a:cubicBezTo>
                        <a:lnTo>
                          <a:pt x="391403" y="1774149"/>
                        </a:lnTo>
                        <a:lnTo>
                          <a:pt x="391403" y="1306099"/>
                        </a:lnTo>
                        <a:lnTo>
                          <a:pt x="368735" y="1339720"/>
                        </a:lnTo>
                        <a:cubicBezTo>
                          <a:pt x="329647" y="1378808"/>
                          <a:pt x="275647" y="1402984"/>
                          <a:pt x="216000" y="1402984"/>
                        </a:cubicBezTo>
                        <a:cubicBezTo>
                          <a:pt x="96706" y="1402984"/>
                          <a:pt x="0" y="1306278"/>
                          <a:pt x="0" y="1186984"/>
                        </a:cubicBezTo>
                        <a:cubicBezTo>
                          <a:pt x="0" y="1067690"/>
                          <a:pt x="96706" y="970984"/>
                          <a:pt x="216000" y="970984"/>
                        </a:cubicBezTo>
                        <a:cubicBezTo>
                          <a:pt x="275647" y="970984"/>
                          <a:pt x="329647" y="995161"/>
                          <a:pt x="368735" y="1034249"/>
                        </a:cubicBezTo>
                        <a:lnTo>
                          <a:pt x="391403" y="1067870"/>
                        </a:lnTo>
                        <a:lnTo>
                          <a:pt x="391403" y="575210"/>
                        </a:lnTo>
                        <a:lnTo>
                          <a:pt x="490305" y="570216"/>
                        </a:lnTo>
                        <a:cubicBezTo>
                          <a:pt x="850616" y="533624"/>
                          <a:pt x="1163442" y="336412"/>
                          <a:pt x="1356053" y="51309"/>
                        </a:cubicBezTo>
                        <a:close/>
                      </a:path>
                    </a:pathLst>
                  </a:custGeom>
                  <a:solidFill>
                    <a:srgbClr val="5F5CA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350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AB37FE24-0575-227C-D777-8381C22C70C7}"/>
                      </a:ext>
                    </a:extLst>
                  </p:cNvPr>
                  <p:cNvSpPr/>
                  <p:nvPr/>
                </p:nvSpPr>
                <p:spPr>
                  <a:xfrm>
                    <a:off x="4238074" y="4152455"/>
                    <a:ext cx="2033335" cy="1840122"/>
                  </a:xfrm>
                  <a:custGeom>
                    <a:avLst/>
                    <a:gdLst>
                      <a:gd name="connsiteX0" fmla="*/ 417652 w 2033335"/>
                      <a:gd name="connsiteY0" fmla="*/ 0 h 1840122"/>
                      <a:gd name="connsiteX1" fmla="*/ 633652 w 2033335"/>
                      <a:gd name="connsiteY1" fmla="*/ 216000 h 1840122"/>
                      <a:gd name="connsiteX2" fmla="*/ 616678 w 2033335"/>
                      <a:gd name="connsiteY2" fmla="*/ 300077 h 1840122"/>
                      <a:gd name="connsiteX3" fmla="*/ 606891 w 2033335"/>
                      <a:gd name="connsiteY3" fmla="*/ 314593 h 1840122"/>
                      <a:gd name="connsiteX4" fmla="*/ 1037513 w 2033335"/>
                      <a:gd name="connsiteY4" fmla="*/ 65973 h 1840122"/>
                      <a:gd name="connsiteX5" fmla="*/ 1068684 w 2033335"/>
                      <a:gd name="connsiteY5" fmla="*/ 117282 h 1840122"/>
                      <a:gd name="connsiteX6" fmla="*/ 1934432 w 2033335"/>
                      <a:gd name="connsiteY6" fmla="*/ 636189 h 1840122"/>
                      <a:gd name="connsiteX7" fmla="*/ 2033335 w 2033335"/>
                      <a:gd name="connsiteY7" fmla="*/ 641183 h 1840122"/>
                      <a:gd name="connsiteX8" fmla="*/ 2033335 w 2033335"/>
                      <a:gd name="connsiteY8" fmla="*/ 1017522 h 1840122"/>
                      <a:gd name="connsiteX9" fmla="*/ 2008746 w 2033335"/>
                      <a:gd name="connsiteY9" fmla="*/ 1004175 h 1840122"/>
                      <a:gd name="connsiteX10" fmla="*/ 1903650 w 2033335"/>
                      <a:gd name="connsiteY10" fmla="*/ 982957 h 1840122"/>
                      <a:gd name="connsiteX11" fmla="*/ 1633650 w 2033335"/>
                      <a:gd name="connsiteY11" fmla="*/ 1252957 h 1840122"/>
                      <a:gd name="connsiteX12" fmla="*/ 1903650 w 2033335"/>
                      <a:gd name="connsiteY12" fmla="*/ 1522957 h 1840122"/>
                      <a:gd name="connsiteX13" fmla="*/ 2008746 w 2033335"/>
                      <a:gd name="connsiteY13" fmla="*/ 1501739 h 1840122"/>
                      <a:gd name="connsiteX14" fmla="*/ 2033335 w 2033335"/>
                      <a:gd name="connsiteY14" fmla="*/ 1488393 h 1840122"/>
                      <a:gd name="connsiteX15" fmla="*/ 2033335 w 2033335"/>
                      <a:gd name="connsiteY15" fmla="*/ 1840122 h 1840122"/>
                      <a:gd name="connsiteX16" fmla="*/ 1811847 w 2033335"/>
                      <a:gd name="connsiteY16" fmla="*/ 1828938 h 1840122"/>
                      <a:gd name="connsiteX17" fmla="*/ 74505 w 2033335"/>
                      <a:gd name="connsiteY17" fmla="*/ 787620 h 1840122"/>
                      <a:gd name="connsiteX18" fmla="*/ 0 w 2033335"/>
                      <a:gd name="connsiteY18" fmla="*/ 664982 h 1840122"/>
                      <a:gd name="connsiteX19" fmla="*/ 405635 w 2033335"/>
                      <a:gd name="connsiteY19" fmla="*/ 430789 h 1840122"/>
                      <a:gd name="connsiteX20" fmla="*/ 374121 w 2033335"/>
                      <a:gd name="connsiteY20" fmla="*/ 427612 h 1840122"/>
                      <a:gd name="connsiteX21" fmla="*/ 201652 w 2033335"/>
                      <a:gd name="connsiteY21" fmla="*/ 216000 h 1840122"/>
                      <a:gd name="connsiteX22" fmla="*/ 417652 w 2033335"/>
                      <a:gd name="connsiteY22" fmla="*/ 0 h 1840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2033335" h="1840122">
                        <a:moveTo>
                          <a:pt x="417652" y="0"/>
                        </a:moveTo>
                        <a:cubicBezTo>
                          <a:pt x="536946" y="0"/>
                          <a:pt x="633652" y="96706"/>
                          <a:pt x="633652" y="216000"/>
                        </a:cubicBezTo>
                        <a:cubicBezTo>
                          <a:pt x="633652" y="245824"/>
                          <a:pt x="627608" y="274236"/>
                          <a:pt x="616678" y="300077"/>
                        </a:cubicBezTo>
                        <a:lnTo>
                          <a:pt x="606891" y="314593"/>
                        </a:lnTo>
                        <a:lnTo>
                          <a:pt x="1037513" y="65973"/>
                        </a:lnTo>
                        <a:lnTo>
                          <a:pt x="1068684" y="117282"/>
                        </a:lnTo>
                        <a:cubicBezTo>
                          <a:pt x="1261296" y="402385"/>
                          <a:pt x="1574122" y="599597"/>
                          <a:pt x="1934432" y="636189"/>
                        </a:cubicBezTo>
                        <a:lnTo>
                          <a:pt x="2033335" y="641183"/>
                        </a:lnTo>
                        <a:lnTo>
                          <a:pt x="2033335" y="1017522"/>
                        </a:lnTo>
                        <a:lnTo>
                          <a:pt x="2008746" y="1004175"/>
                        </a:lnTo>
                        <a:cubicBezTo>
                          <a:pt x="1976444" y="990512"/>
                          <a:pt x="1940929" y="982957"/>
                          <a:pt x="1903650" y="982957"/>
                        </a:cubicBezTo>
                        <a:cubicBezTo>
                          <a:pt x="1754533" y="982957"/>
                          <a:pt x="1633650" y="1103840"/>
                          <a:pt x="1633650" y="1252957"/>
                        </a:cubicBezTo>
                        <a:cubicBezTo>
                          <a:pt x="1633650" y="1402074"/>
                          <a:pt x="1754533" y="1522957"/>
                          <a:pt x="1903650" y="1522957"/>
                        </a:cubicBezTo>
                        <a:cubicBezTo>
                          <a:pt x="1940929" y="1522957"/>
                          <a:pt x="1976444" y="1515402"/>
                          <a:pt x="2008746" y="1501739"/>
                        </a:cubicBezTo>
                        <a:lnTo>
                          <a:pt x="2033335" y="1488393"/>
                        </a:lnTo>
                        <a:lnTo>
                          <a:pt x="2033335" y="1840122"/>
                        </a:lnTo>
                        <a:lnTo>
                          <a:pt x="1811847" y="1828938"/>
                        </a:lnTo>
                        <a:cubicBezTo>
                          <a:pt x="1088794" y="1755508"/>
                          <a:pt x="461029" y="1359751"/>
                          <a:pt x="74505" y="787620"/>
                        </a:cubicBezTo>
                        <a:lnTo>
                          <a:pt x="0" y="664982"/>
                        </a:lnTo>
                        <a:lnTo>
                          <a:pt x="405635" y="430789"/>
                        </a:lnTo>
                        <a:lnTo>
                          <a:pt x="374121" y="427612"/>
                        </a:lnTo>
                        <a:cubicBezTo>
                          <a:pt x="275693" y="407471"/>
                          <a:pt x="201652" y="320383"/>
                          <a:pt x="201652" y="216000"/>
                        </a:cubicBezTo>
                        <a:cubicBezTo>
                          <a:pt x="201652" y="96706"/>
                          <a:pt x="298358" y="0"/>
                          <a:pt x="417652" y="0"/>
                        </a:cubicBezTo>
                        <a:close/>
                      </a:path>
                    </a:pathLst>
                  </a:custGeom>
                  <a:solidFill>
                    <a:srgbClr val="775CA3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/>
                  <a:p>
                    <a:pPr algn="ctr"/>
                    <a:endParaRPr lang="en-IN" sz="1350">
                      <a:cs typeface="Arial"/>
                    </a:endParaRPr>
                  </a:p>
                </p:txBody>
              </p:sp>
            </p:grp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736EF066-5F28-6512-A271-0E37C0F28BDF}"/>
                    </a:ext>
                  </a:extLst>
                </p:cNvPr>
                <p:cNvGrpSpPr/>
                <p:nvPr/>
              </p:nvGrpSpPr>
              <p:grpSpPr>
                <a:xfrm>
                  <a:off x="4349387" y="1618342"/>
                  <a:ext cx="3495679" cy="3978071"/>
                  <a:chOff x="4349387" y="1618342"/>
                  <a:chExt cx="3495679" cy="3978071"/>
                </a:xfrm>
              </p:grpSpPr>
              <p:sp>
                <p:nvSpPr>
                  <p:cNvPr id="21" name="TextBox 20">
                    <a:extLst>
                      <a:ext uri="{FF2B5EF4-FFF2-40B4-BE49-F238E27FC236}">
                        <a16:creationId xmlns:a16="http://schemas.microsoft.com/office/drawing/2014/main" id="{944E8669-5476-292D-7116-93AD6AACFB81}"/>
                      </a:ext>
                    </a:extLst>
                  </p:cNvPr>
                  <p:cNvSpPr txBox="1"/>
                  <p:nvPr/>
                </p:nvSpPr>
                <p:spPr>
                  <a:xfrm>
                    <a:off x="6149593" y="1618342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28A4666F-F43C-7CFA-5535-50199003C99C}"/>
                      </a:ext>
                    </a:extLst>
                  </p:cNvPr>
                  <p:cNvSpPr txBox="1"/>
                  <p:nvPr/>
                </p:nvSpPr>
                <p:spPr>
                  <a:xfrm>
                    <a:off x="7623338" y="2658438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3" name="TextBox 22">
                    <a:extLst>
                      <a:ext uri="{FF2B5EF4-FFF2-40B4-BE49-F238E27FC236}">
                        <a16:creationId xmlns:a16="http://schemas.microsoft.com/office/drawing/2014/main" id="{5212AEA9-9926-81FA-4119-6AAF9102E932}"/>
                      </a:ext>
                    </a:extLst>
                  </p:cNvPr>
                  <p:cNvSpPr txBox="1"/>
                  <p:nvPr/>
                </p:nvSpPr>
                <p:spPr>
                  <a:xfrm>
                    <a:off x="4519957" y="2380591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4" name="TextBox 23">
                    <a:extLst>
                      <a:ext uri="{FF2B5EF4-FFF2-40B4-BE49-F238E27FC236}">
                        <a16:creationId xmlns:a16="http://schemas.microsoft.com/office/drawing/2014/main" id="{4690F33E-7FFF-57C8-A2C8-47B7C4F45FFB}"/>
                      </a:ext>
                    </a:extLst>
                  </p:cNvPr>
                  <p:cNvSpPr txBox="1"/>
                  <p:nvPr/>
                </p:nvSpPr>
                <p:spPr>
                  <a:xfrm>
                    <a:off x="7465004" y="4452933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5" name="TextBox 24">
                    <a:extLst>
                      <a:ext uri="{FF2B5EF4-FFF2-40B4-BE49-F238E27FC236}">
                        <a16:creationId xmlns:a16="http://schemas.microsoft.com/office/drawing/2014/main" id="{31E9F93F-5AF2-6E6B-59C7-7D3D825CD60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9387" y="4181616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8E00EEA8-385D-9CF7-9E4E-EA0C6A7C9A3B}"/>
                      </a:ext>
                    </a:extLst>
                  </p:cNvPr>
                  <p:cNvSpPr txBox="1"/>
                  <p:nvPr/>
                </p:nvSpPr>
                <p:spPr>
                  <a:xfrm>
                    <a:off x="5827900" y="5219537"/>
                    <a:ext cx="221728" cy="3768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endPara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19906FA-8389-633E-E7C9-D85C7C5A67D2}"/>
                  </a:ext>
                </a:extLst>
              </p:cNvPr>
              <p:cNvGrpSpPr/>
              <p:nvPr/>
            </p:nvGrpSpPr>
            <p:grpSpPr>
              <a:xfrm>
                <a:off x="4494418" y="1996044"/>
                <a:ext cx="3209598" cy="3090479"/>
                <a:chOff x="4494418" y="1996044"/>
                <a:chExt cx="3209598" cy="3090479"/>
              </a:xfrm>
            </p:grpSpPr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B18BFE59-B6D8-AC00-225D-B15D4E1EAA1A}"/>
                    </a:ext>
                  </a:extLst>
                </p:cNvPr>
                <p:cNvSpPr txBox="1"/>
                <p:nvPr/>
              </p:nvSpPr>
              <p:spPr>
                <a:xfrm rot="2113567">
                  <a:off x="6200593" y="2068184"/>
                  <a:ext cx="1503423" cy="5107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SOURCE</a:t>
                  </a:r>
                  <a:r>
                    <a:rPr lang="en-IN" sz="14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LLOCATION</a:t>
                  </a:r>
                  <a:endParaRPr lang="en-IN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3BE11D46-A95F-95A6-FDBE-859391237764}"/>
                    </a:ext>
                  </a:extLst>
                </p:cNvPr>
                <p:cNvSpPr txBox="1"/>
                <p:nvPr/>
              </p:nvSpPr>
              <p:spPr>
                <a:xfrm rot="20040000">
                  <a:off x="4721412" y="1996044"/>
                  <a:ext cx="1503423" cy="5107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NANCIAL  </a:t>
                  </a: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 MANAGEMENT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1DA6EC6-2BA2-F0F7-A15D-796E0BDB7337}"/>
                    </a:ext>
                  </a:extLst>
                </p:cNvPr>
                <p:cNvSpPr txBox="1"/>
                <p:nvPr/>
              </p:nvSpPr>
              <p:spPr>
                <a:xfrm rot="16560000">
                  <a:off x="4015845" y="3231223"/>
                  <a:ext cx="1503423" cy="5107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ED </a:t>
                  </a: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LLOCATION</a:t>
                  </a:r>
                </a:p>
                <a:p>
                  <a:pPr algn="ctr"/>
                  <a:endParaRPr lang="en-IN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BAD41263-12F6-E253-4DC8-6E56ADFDBDAB}"/>
                    </a:ext>
                  </a:extLst>
                </p:cNvPr>
                <p:cNvSpPr txBox="1"/>
                <p:nvPr/>
              </p:nvSpPr>
              <p:spPr>
                <a:xfrm rot="5760000">
                  <a:off x="6658094" y="3418473"/>
                  <a:ext cx="1503423" cy="5107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EVENTIVE</a:t>
                  </a: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ARE</a:t>
                  </a: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ITIATIVES</a:t>
                  </a: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3DD6430E-7E8E-E63A-5E93-BCA6FA914F9E}"/>
                    </a:ext>
                  </a:extLst>
                </p:cNvPr>
                <p:cNvSpPr txBox="1"/>
                <p:nvPr/>
              </p:nvSpPr>
              <p:spPr>
                <a:xfrm rot="20340000">
                  <a:off x="5946426" y="4570128"/>
                  <a:ext cx="1503423" cy="510702"/>
                </a:xfrm>
                <a:prstGeom prst="rect">
                  <a:avLst/>
                </a:prstGeom>
                <a:noFill/>
              </p:spPr>
              <p:txBody>
                <a:bodyPr spcFirstLastPara="1" wrap="none" lIns="91440" tIns="45720" rIns="91440" bIns="45720" numCol="1" rtlCol="0" anchor="t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/>
                      <a:cs typeface="Arial"/>
                    </a:rPr>
                    <a:t>PATIENT</a:t>
                  </a:r>
                  <a:endParaRPr lang="en-US"/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/>
                      <a:cs typeface="Arial"/>
                    </a:rPr>
                    <a:t>QUALTIY</a:t>
                  </a:r>
                  <a:endParaRPr lang="en-IN">
                    <a:solidFill>
                      <a:schemeClr val="bg1"/>
                    </a:solidFill>
                    <a:latin typeface="Arial"/>
                    <a:cs typeface="Arial"/>
                  </a:endParaRP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/>
                      <a:cs typeface="Arial"/>
                    </a:rPr>
                    <a:t>CARE</a:t>
                  </a:r>
                  <a:endParaRPr lang="en-IN">
                    <a:solidFill>
                      <a:schemeClr val="bg1"/>
                    </a:solidFill>
                    <a:cs typeface="Arial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057D7E52-67CF-0D87-972C-1A8A6C48F5BA}"/>
                    </a:ext>
                  </a:extLst>
                </p:cNvPr>
                <p:cNvSpPr txBox="1"/>
                <p:nvPr/>
              </p:nvSpPr>
              <p:spPr>
                <a:xfrm rot="2100000">
                  <a:off x="4494418" y="4635072"/>
                  <a:ext cx="1503423" cy="451451"/>
                </a:xfrm>
                <a:prstGeom prst="rect">
                  <a:avLst/>
                </a:prstGeom>
                <a:noFill/>
              </p:spPr>
              <p:txBody>
                <a:bodyPr spcFirstLastPara="1" wrap="none" lIns="91440" tIns="45720" rIns="91440" bIns="45720" numCol="1" rtlCol="0" anchor="t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/>
                      <a:cs typeface="Arial"/>
                    </a:rPr>
                    <a:t>PATIENT</a:t>
                  </a:r>
                  <a:endParaRPr lang="en-US" sz="1600">
                    <a:solidFill>
                      <a:schemeClr val="bg1"/>
                    </a:solidFill>
                    <a:latin typeface="Arial"/>
                    <a:cs typeface="Arial"/>
                  </a:endParaRPr>
                </a:p>
                <a:p>
                  <a:pPr algn="ctr"/>
                  <a:r>
                    <a:rPr lang="en-IN" sz="1600" b="1">
                      <a:solidFill>
                        <a:schemeClr val="bg1"/>
                      </a:solidFill>
                      <a:latin typeface="Arial"/>
                      <a:cs typeface="Arial"/>
                    </a:rPr>
                    <a:t>ENGAGMENT</a:t>
                  </a:r>
                  <a:endParaRPr lang="en-US" sz="1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endParaRPr lang="en-IN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endParaRPr lang="en-IN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068BAFFA-5F9F-B354-E5E9-5738771D457A}"/>
              </a:ext>
            </a:extLst>
          </p:cNvPr>
          <p:cNvSpPr txBox="1"/>
          <p:nvPr/>
        </p:nvSpPr>
        <p:spPr>
          <a:xfrm rot="10800000" flipV="1">
            <a:off x="676996" y="5097812"/>
            <a:ext cx="4020409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en-US" sz="1400" u="sng" dirty="0">
                <a:solidFill>
                  <a:srgbClr val="5F5CA2"/>
                </a:solidFill>
                <a:cs typeface="Arial"/>
              </a:rPr>
              <a:t>PATIENT ENGAGEMENT</a:t>
            </a:r>
            <a:endParaRPr lang="en-US" dirty="0"/>
          </a:p>
          <a:p>
            <a:pPr marL="285750" indent="-285750" defTabSz="685800">
              <a:buFont typeface="Arial"/>
              <a:buChar char="•"/>
              <a:defRPr/>
            </a:pPr>
            <a:r>
              <a:rPr lang="en-US" sz="1400" dirty="0">
                <a:cs typeface="Arial" panose="020B0604020202020204"/>
              </a:rPr>
              <a:t>Helps in </a:t>
            </a:r>
            <a:r>
              <a:rPr lang="en-US" sz="1400" b="1" dirty="0">
                <a:cs typeface="Arial" panose="020B0604020202020204"/>
              </a:rPr>
              <a:t>Patient Engagement.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74151"/>
                </a:solidFill>
              </a:rPr>
              <a:t>Builds </a:t>
            </a:r>
            <a:r>
              <a:rPr lang="en-US" sz="1400" b="1" dirty="0">
                <a:solidFill>
                  <a:srgbClr val="374151"/>
                </a:solidFill>
              </a:rPr>
              <a:t>Trust</a:t>
            </a:r>
            <a:r>
              <a:rPr lang="en-US" sz="1400" dirty="0">
                <a:solidFill>
                  <a:srgbClr val="374151"/>
                </a:solidFill>
              </a:rPr>
              <a:t> among Patients.</a:t>
            </a:r>
            <a:endParaRPr lang="en-US" sz="1400" dirty="0">
              <a:solidFill>
                <a:srgbClr val="374151"/>
              </a:solidFill>
              <a:cs typeface="Arial"/>
            </a:endParaRPr>
          </a:p>
        </p:txBody>
      </p:sp>
      <p:pic>
        <p:nvPicPr>
          <p:cNvPr id="3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CB602FCE-615C-43E4-94E0-C64DD0633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3219" y="2878012"/>
            <a:ext cx="2000170" cy="1055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89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A76FBD-7A88-2BDC-E5D9-5E843BCB11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713" y="31392"/>
            <a:ext cx="7435850" cy="234939"/>
          </a:xfrm>
        </p:spPr>
        <p:txBody>
          <a:bodyPr anchor="ctr">
            <a:normAutofit fontScale="90000"/>
          </a:bodyPr>
          <a:lstStyle/>
          <a:p>
            <a:r>
              <a:rPr lang="en-US" sz="4800">
                <a:cs typeface="Arial" panose="020B0604020202020204" pitchFamily="34" charset="0"/>
              </a:rPr>
              <a:t>Agenda</a:t>
            </a:r>
            <a:endParaRPr lang="en-US" sz="4800">
              <a:latin typeface="Garamond" panose="02020404030301010803" pitchFamily="18" charset="0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A7983BD-92D8-A770-7824-C5E1F25185A1}"/>
              </a:ext>
            </a:extLst>
          </p:cNvPr>
          <p:cNvSpPr txBox="1">
            <a:spLocks/>
          </p:cNvSpPr>
          <p:nvPr/>
        </p:nvSpPr>
        <p:spPr>
          <a:xfrm>
            <a:off x="475921" y="1692607"/>
            <a:ext cx="6490936" cy="3526053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0" marR="0" indent="0" algn="l" defTabSz="914309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+mj-lt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0" marR="0" indent="0" algn="l" defTabSz="914309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+mj-lt"/>
              <a:buNone/>
              <a:tabLst/>
              <a:defRPr sz="20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514327" indent="-28575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tabLst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342922" indent="-34290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+mj-lt"/>
              <a:buAutoNum type="arabicPeriod"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5pPr>
            <a:lvl6pPr marL="571477" indent="-34290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+mj-lt"/>
              <a:buAutoNum type="arabicPeriod"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6pPr>
            <a:lvl7pPr marL="571477" indent="-34290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+mj-lt"/>
              <a:buAutoNum type="arabicPeriod"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7pPr>
            <a:lvl8pPr marL="571477" indent="-34290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+mj-lt"/>
              <a:buAutoNum type="arabicPeriod"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8pPr>
            <a:lvl9pPr marL="571477" indent="-342900" algn="l" defTabSz="914309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+mj-lt"/>
              <a:buAutoNum type="arabicPeriod"/>
              <a:defRPr sz="1800" b="0" i="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</a:pPr>
            <a:endParaRPr lang="en-US" sz="20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Timeline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Problem Statement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Methodology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EDA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</a:rPr>
              <a:t>Modeling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Data Summary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Value Added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Learnings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Q&amp;A</a:t>
            </a:r>
          </a:p>
          <a:p>
            <a:pPr marL="274238" indent="-342797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28843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lide Number Placeholder 2">
            <a:extLst>
              <a:ext uri="{FF2B5EF4-FFF2-40B4-BE49-F238E27FC236}">
                <a16:creationId xmlns:a16="http://schemas.microsoft.com/office/drawing/2014/main" id="{B9AB10EC-0E8A-0E99-8397-CC917D5571B5}"/>
              </a:ext>
            </a:extLst>
          </p:cNvPr>
          <p:cNvSpPr txBox="1">
            <a:spLocks/>
          </p:cNvSpPr>
          <p:nvPr/>
        </p:nvSpPr>
        <p:spPr>
          <a:xfrm>
            <a:off x="11233150" y="6432562"/>
            <a:ext cx="492123" cy="23192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68522D-5396-4285-B300-E6321F47112F}" type="slidenum">
              <a:rPr lang="en-ID" smtClean="0"/>
              <a:pPr/>
              <a:t>20</a:t>
            </a:fld>
            <a:endParaRPr lang="en-ID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D8D7A8BF-C5D7-24E9-0296-DA7948D28E4B}"/>
              </a:ext>
            </a:extLst>
          </p:cNvPr>
          <p:cNvSpPr/>
          <p:nvPr/>
        </p:nvSpPr>
        <p:spPr>
          <a:xfrm>
            <a:off x="6954158" y="2476293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EA08077A-1C9C-C610-16FF-9986166D0658}"/>
              </a:ext>
            </a:extLst>
          </p:cNvPr>
          <p:cNvSpPr/>
          <p:nvPr/>
        </p:nvSpPr>
        <p:spPr>
          <a:xfrm>
            <a:off x="6954158" y="5221500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200BD15-603B-2229-AB85-AFB10F0DC2A5}"/>
              </a:ext>
            </a:extLst>
          </p:cNvPr>
          <p:cNvSpPr/>
          <p:nvPr/>
        </p:nvSpPr>
        <p:spPr>
          <a:xfrm>
            <a:off x="4412101" y="5221500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0E91F58-2B04-8ADD-6F00-96E16C54CB9A}"/>
              </a:ext>
            </a:extLst>
          </p:cNvPr>
          <p:cNvSpPr/>
          <p:nvPr/>
        </p:nvSpPr>
        <p:spPr>
          <a:xfrm>
            <a:off x="7597155" y="4306430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E29619D-21CA-D0BC-D669-8EC36CA9AD22}"/>
              </a:ext>
            </a:extLst>
          </p:cNvPr>
          <p:cNvSpPr/>
          <p:nvPr/>
        </p:nvSpPr>
        <p:spPr>
          <a:xfrm>
            <a:off x="3785975" y="4296580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5290AA93-B32E-CCA3-6A4F-6041BE69DB7A}"/>
              </a:ext>
            </a:extLst>
          </p:cNvPr>
          <p:cNvSpPr/>
          <p:nvPr/>
        </p:nvSpPr>
        <p:spPr>
          <a:xfrm>
            <a:off x="7597155" y="3388722"/>
            <a:ext cx="822566" cy="82256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254BE80-2507-3B70-0595-CD74E8659E19}"/>
              </a:ext>
            </a:extLst>
          </p:cNvPr>
          <p:cNvSpPr/>
          <p:nvPr/>
        </p:nvSpPr>
        <p:spPr>
          <a:xfrm>
            <a:off x="3769103" y="3311326"/>
            <a:ext cx="822566" cy="899962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221AD360-29F0-1154-78A3-15BB3AC6ABD7}"/>
              </a:ext>
            </a:extLst>
          </p:cNvPr>
          <p:cNvSpPr/>
          <p:nvPr/>
        </p:nvSpPr>
        <p:spPr>
          <a:xfrm>
            <a:off x="4412101" y="2476293"/>
            <a:ext cx="822566" cy="822566"/>
          </a:xfrm>
          <a:prstGeom prst="ellipse">
            <a:avLst/>
          </a:prstGeom>
          <a:solidFill>
            <a:schemeClr val="bg1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FE97637C-FB0F-81EC-B6FC-4D6E1B89D3FC}"/>
              </a:ext>
            </a:extLst>
          </p:cNvPr>
          <p:cNvSpPr/>
          <p:nvPr/>
        </p:nvSpPr>
        <p:spPr>
          <a:xfrm>
            <a:off x="4180386" y="2346153"/>
            <a:ext cx="3828053" cy="3828053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5A5DA7B-7DF0-9C13-F242-689EA0C19E5A}"/>
              </a:ext>
            </a:extLst>
          </p:cNvPr>
          <p:cNvSpPr/>
          <p:nvPr/>
        </p:nvSpPr>
        <p:spPr>
          <a:xfrm>
            <a:off x="3860878" y="3428999"/>
            <a:ext cx="620299" cy="63701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D8182A92-1457-E189-2F0A-9520E93E1F83}"/>
              </a:ext>
            </a:extLst>
          </p:cNvPr>
          <p:cNvSpPr/>
          <p:nvPr/>
        </p:nvSpPr>
        <p:spPr>
          <a:xfrm>
            <a:off x="7717321" y="3511528"/>
            <a:ext cx="582234" cy="58223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809F2FD7-9DA5-B054-CA71-8CEE4A11C9A7}"/>
              </a:ext>
            </a:extLst>
          </p:cNvPr>
          <p:cNvSpPr/>
          <p:nvPr/>
        </p:nvSpPr>
        <p:spPr>
          <a:xfrm>
            <a:off x="3889269" y="4399965"/>
            <a:ext cx="593929" cy="63701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5036F3DD-D23B-7016-E273-35D693ACC0D2}"/>
              </a:ext>
            </a:extLst>
          </p:cNvPr>
          <p:cNvSpPr/>
          <p:nvPr/>
        </p:nvSpPr>
        <p:spPr>
          <a:xfrm>
            <a:off x="7717321" y="4426596"/>
            <a:ext cx="582234" cy="58223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28EA150F-8DFF-DEFD-38F5-381918A8CB6E}"/>
              </a:ext>
            </a:extLst>
          </p:cNvPr>
          <p:cNvSpPr/>
          <p:nvPr/>
        </p:nvSpPr>
        <p:spPr>
          <a:xfrm>
            <a:off x="4506722" y="2571955"/>
            <a:ext cx="633324" cy="63701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B1FE047-6917-CF0E-C8FD-44C746E13B7F}"/>
              </a:ext>
            </a:extLst>
          </p:cNvPr>
          <p:cNvSpPr/>
          <p:nvPr/>
        </p:nvSpPr>
        <p:spPr>
          <a:xfrm>
            <a:off x="7074324" y="2596459"/>
            <a:ext cx="582234" cy="58223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3DBAE96D-1984-A0D3-38E1-D8C3CCBCDA0A}"/>
              </a:ext>
            </a:extLst>
          </p:cNvPr>
          <p:cNvSpPr/>
          <p:nvPr/>
        </p:nvSpPr>
        <p:spPr>
          <a:xfrm>
            <a:off x="4532267" y="5341666"/>
            <a:ext cx="582234" cy="58223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0C58D2E6-F54B-E488-5567-B47553910DF9}"/>
              </a:ext>
            </a:extLst>
          </p:cNvPr>
          <p:cNvSpPr/>
          <p:nvPr/>
        </p:nvSpPr>
        <p:spPr>
          <a:xfrm>
            <a:off x="7074324" y="5341666"/>
            <a:ext cx="582234" cy="58223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9" name="Freeform 1675">
            <a:extLst>
              <a:ext uri="{FF2B5EF4-FFF2-40B4-BE49-F238E27FC236}">
                <a16:creationId xmlns:a16="http://schemas.microsoft.com/office/drawing/2014/main" id="{E9E0B3B5-8DB0-4A82-98E8-A62EB1C9A03E}"/>
              </a:ext>
            </a:extLst>
          </p:cNvPr>
          <p:cNvSpPr>
            <a:spLocks/>
          </p:cNvSpPr>
          <p:nvPr/>
        </p:nvSpPr>
        <p:spPr bwMode="auto">
          <a:xfrm>
            <a:off x="4684946" y="2747760"/>
            <a:ext cx="276878" cy="279634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0" name="Freeform 1675">
            <a:extLst>
              <a:ext uri="{FF2B5EF4-FFF2-40B4-BE49-F238E27FC236}">
                <a16:creationId xmlns:a16="http://schemas.microsoft.com/office/drawing/2014/main" id="{4FAC0B40-04B6-792E-FBA2-9B0BD3A26182}"/>
              </a:ext>
            </a:extLst>
          </p:cNvPr>
          <p:cNvSpPr>
            <a:spLocks/>
          </p:cNvSpPr>
          <p:nvPr/>
        </p:nvSpPr>
        <p:spPr bwMode="auto">
          <a:xfrm>
            <a:off x="7227002" y="2769904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1" name="Freeform 1675">
            <a:extLst>
              <a:ext uri="{FF2B5EF4-FFF2-40B4-BE49-F238E27FC236}">
                <a16:creationId xmlns:a16="http://schemas.microsoft.com/office/drawing/2014/main" id="{70133B7A-5A89-8343-ADF6-333F314DCE8D}"/>
              </a:ext>
            </a:extLst>
          </p:cNvPr>
          <p:cNvSpPr>
            <a:spLocks/>
          </p:cNvSpPr>
          <p:nvPr/>
        </p:nvSpPr>
        <p:spPr bwMode="auto">
          <a:xfrm>
            <a:off x="4684946" y="5515110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2" name="Freeform 1675">
            <a:extLst>
              <a:ext uri="{FF2B5EF4-FFF2-40B4-BE49-F238E27FC236}">
                <a16:creationId xmlns:a16="http://schemas.microsoft.com/office/drawing/2014/main" id="{10B3BC6D-C143-81F1-9373-8155822A6C0D}"/>
              </a:ext>
            </a:extLst>
          </p:cNvPr>
          <p:cNvSpPr>
            <a:spLocks/>
          </p:cNvSpPr>
          <p:nvPr/>
        </p:nvSpPr>
        <p:spPr bwMode="auto">
          <a:xfrm>
            <a:off x="7227002" y="5515110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3" name="Freeform 1675">
            <a:extLst>
              <a:ext uri="{FF2B5EF4-FFF2-40B4-BE49-F238E27FC236}">
                <a16:creationId xmlns:a16="http://schemas.microsoft.com/office/drawing/2014/main" id="{BEFD5CAF-2CC6-DBC6-4C5B-AF6E492A38AA}"/>
              </a:ext>
            </a:extLst>
          </p:cNvPr>
          <p:cNvSpPr>
            <a:spLocks/>
          </p:cNvSpPr>
          <p:nvPr/>
        </p:nvSpPr>
        <p:spPr bwMode="auto">
          <a:xfrm>
            <a:off x="4041947" y="4600041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4" name="Freeform 1675">
            <a:extLst>
              <a:ext uri="{FF2B5EF4-FFF2-40B4-BE49-F238E27FC236}">
                <a16:creationId xmlns:a16="http://schemas.microsoft.com/office/drawing/2014/main" id="{99D54B6F-B02F-6BAC-DF48-56EEB9490A63}"/>
              </a:ext>
            </a:extLst>
          </p:cNvPr>
          <p:cNvSpPr>
            <a:spLocks/>
          </p:cNvSpPr>
          <p:nvPr/>
        </p:nvSpPr>
        <p:spPr bwMode="auto">
          <a:xfrm>
            <a:off x="7869999" y="4600041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5" name="Freeform 1675">
            <a:extLst>
              <a:ext uri="{FF2B5EF4-FFF2-40B4-BE49-F238E27FC236}">
                <a16:creationId xmlns:a16="http://schemas.microsoft.com/office/drawing/2014/main" id="{11E6975A-A6C5-21F5-E080-BEE55F3C539A}"/>
              </a:ext>
            </a:extLst>
          </p:cNvPr>
          <p:cNvSpPr>
            <a:spLocks/>
          </p:cNvSpPr>
          <p:nvPr/>
        </p:nvSpPr>
        <p:spPr bwMode="auto">
          <a:xfrm>
            <a:off x="4041947" y="3625004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6" name="Freeform 1675">
            <a:extLst>
              <a:ext uri="{FF2B5EF4-FFF2-40B4-BE49-F238E27FC236}">
                <a16:creationId xmlns:a16="http://schemas.microsoft.com/office/drawing/2014/main" id="{8B3BA638-C4F4-08E4-FFA6-5EE799E9B63E}"/>
              </a:ext>
            </a:extLst>
          </p:cNvPr>
          <p:cNvSpPr>
            <a:spLocks/>
          </p:cNvSpPr>
          <p:nvPr/>
        </p:nvSpPr>
        <p:spPr bwMode="auto">
          <a:xfrm>
            <a:off x="7869999" y="3684972"/>
            <a:ext cx="276878" cy="235345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EF8BAB9-186F-05B4-080B-A4CB018FF59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48888" y="2496254"/>
            <a:ext cx="299978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Pytho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A7B6D06-4AD8-1257-9468-DBA2B9B7F9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2898" y="4533047"/>
            <a:ext cx="299978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Data Visualization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7B2A0CF-258B-7E3B-DF58-1D7E93042E8E}"/>
              </a:ext>
            </a:extLst>
          </p:cNvPr>
          <p:cNvGrpSpPr/>
          <p:nvPr/>
        </p:nvGrpSpPr>
        <p:grpSpPr>
          <a:xfrm>
            <a:off x="4969885" y="3543578"/>
            <a:ext cx="2265926" cy="1335420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20" name="Freeform 6">
              <a:extLst>
                <a:ext uri="{FF2B5EF4-FFF2-40B4-BE49-F238E27FC236}">
                  <a16:creationId xmlns:a16="http://schemas.microsoft.com/office/drawing/2014/main" id="{4B92E404-E870-A4E8-7561-6BCB832D15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21" name="Freeform 7">
              <a:extLst>
                <a:ext uri="{FF2B5EF4-FFF2-40B4-BE49-F238E27FC236}">
                  <a16:creationId xmlns:a16="http://schemas.microsoft.com/office/drawing/2014/main" id="{DBE2B2A4-E0A4-3F37-9514-2F6126E8F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22" name="Freeform 8">
              <a:extLst>
                <a:ext uri="{FF2B5EF4-FFF2-40B4-BE49-F238E27FC236}">
                  <a16:creationId xmlns:a16="http://schemas.microsoft.com/office/drawing/2014/main" id="{8B69AAF6-90E7-09CA-04F8-451DFA5B0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23" name="Freeform 9">
              <a:extLst>
                <a:ext uri="{FF2B5EF4-FFF2-40B4-BE49-F238E27FC236}">
                  <a16:creationId xmlns:a16="http://schemas.microsoft.com/office/drawing/2014/main" id="{9189C44C-6FEC-E243-7C10-EF7A376E35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24" name="Freeform 10">
              <a:extLst>
                <a:ext uri="{FF2B5EF4-FFF2-40B4-BE49-F238E27FC236}">
                  <a16:creationId xmlns:a16="http://schemas.microsoft.com/office/drawing/2014/main" id="{14E4A0F0-972F-77DE-70F8-0DF8EB3FE9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71EFE3C-5530-A142-9F68-B1A6FDAFFBDE}"/>
              </a:ext>
            </a:extLst>
          </p:cNvPr>
          <p:cNvSpPr/>
          <p:nvPr/>
        </p:nvSpPr>
        <p:spPr>
          <a:xfrm>
            <a:off x="-1" y="1537193"/>
            <a:ext cx="12188825" cy="3650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F63CFF3-08B6-6E99-D691-8726AF3F0BE8}"/>
              </a:ext>
            </a:extLst>
          </p:cNvPr>
          <p:cNvSpPr/>
          <p:nvPr/>
        </p:nvSpPr>
        <p:spPr>
          <a:xfrm>
            <a:off x="1030018" y="1438794"/>
            <a:ext cx="4383534" cy="56182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b="1"/>
              <a:t>TECHNICAL SKILLS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7F58F59-8043-F0DD-C2F4-C0DCD80874C1}"/>
              </a:ext>
            </a:extLst>
          </p:cNvPr>
          <p:cNvSpPr/>
          <p:nvPr/>
        </p:nvSpPr>
        <p:spPr>
          <a:xfrm>
            <a:off x="6772098" y="1438794"/>
            <a:ext cx="4383534" cy="561829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/>
              <a:t>SOFT SKILLS</a:t>
            </a:r>
            <a:endParaRPr lang="en-US" sz="2000" b="1">
              <a:cs typeface="Arial"/>
            </a:endParaRPr>
          </a:p>
        </p:txBody>
      </p:sp>
      <p:sp>
        <p:nvSpPr>
          <p:cNvPr id="128" name="Rectangle: Top Corners Rounded 127">
            <a:extLst>
              <a:ext uri="{FF2B5EF4-FFF2-40B4-BE49-F238E27FC236}">
                <a16:creationId xmlns:a16="http://schemas.microsoft.com/office/drawing/2014/main" id="{795D4366-E214-DB3E-2509-3D48D3F2D8AC}"/>
              </a:ext>
            </a:extLst>
          </p:cNvPr>
          <p:cNvSpPr/>
          <p:nvPr/>
        </p:nvSpPr>
        <p:spPr>
          <a:xfrm>
            <a:off x="968123" y="1358071"/>
            <a:ext cx="4513674" cy="983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9" name="Rectangle: Top Corners Rounded 128">
            <a:extLst>
              <a:ext uri="{FF2B5EF4-FFF2-40B4-BE49-F238E27FC236}">
                <a16:creationId xmlns:a16="http://schemas.microsoft.com/office/drawing/2014/main" id="{673239CE-168F-5AF6-E493-FE2A5763A204}"/>
              </a:ext>
            </a:extLst>
          </p:cNvPr>
          <p:cNvSpPr/>
          <p:nvPr/>
        </p:nvSpPr>
        <p:spPr>
          <a:xfrm>
            <a:off x="6707028" y="1438794"/>
            <a:ext cx="4513674" cy="983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7386C76-4CA6-D0B6-A0D7-B13D6700F8FD}"/>
              </a:ext>
            </a:extLst>
          </p:cNvPr>
          <p:cNvSpPr txBox="1"/>
          <p:nvPr/>
        </p:nvSpPr>
        <p:spPr>
          <a:xfrm>
            <a:off x="292155" y="319171"/>
            <a:ext cx="11433118" cy="5232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D" sz="3400" b="1">
                <a:solidFill>
                  <a:schemeClr val="accent1"/>
                </a:solidFill>
                <a:latin typeface="Garamond" panose="02020404030301010803" pitchFamily="18" charset="0"/>
              </a:rPr>
              <a:t>Learnings</a:t>
            </a:r>
            <a:endParaRPr lang="en-ID" sz="3400">
              <a:solidFill>
                <a:schemeClr val="accent1"/>
              </a:solidFill>
              <a:latin typeface="Garamond" panose="02020404030301010803" pitchFamily="18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96D8FC8-C27D-BD02-4005-D016C6FE16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128" y="3615339"/>
            <a:ext cx="299978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Data Analysi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FBBDF00-F473-024C-946A-1CE440A8B44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8289" y="5467466"/>
            <a:ext cx="367537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Machine Learning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FCD9826-D2B4-FB98-3359-DE80F9284C6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049899" y="2498106"/>
            <a:ext cx="367537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Effective Communication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FDC8DD5-F0C4-8303-81C7-C4F58139BEB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896809" y="5448117"/>
            <a:ext cx="367537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Task Prioritization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214FC28-1A5F-CD69-53CB-3299FB826E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741405" y="3548602"/>
            <a:ext cx="299978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Teamwork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AE4A334-3986-E0B1-A81F-6AE4B195BAB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56144" y="4533047"/>
            <a:ext cx="299978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Time Management 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F2B7D42-9804-3D3E-2AD9-25176ABC216E}"/>
              </a:ext>
            </a:extLst>
          </p:cNvPr>
          <p:cNvSpPr/>
          <p:nvPr/>
        </p:nvSpPr>
        <p:spPr>
          <a:xfrm>
            <a:off x="1030018" y="1438793"/>
            <a:ext cx="4383534" cy="56182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/>
              <a:t>TECHNICAL SKILLS</a:t>
            </a:r>
            <a:endParaRPr lang="en-US" sz="2000" b="1">
              <a:cs typeface="Arial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DBC963B-C6AA-B2CD-8A3D-8FEFC9385D8A}"/>
              </a:ext>
            </a:extLst>
          </p:cNvPr>
          <p:cNvSpPr txBox="1"/>
          <p:nvPr/>
        </p:nvSpPr>
        <p:spPr>
          <a:xfrm>
            <a:off x="292155" y="319170"/>
            <a:ext cx="11433118" cy="5232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D" sz="3400" b="1">
                <a:solidFill>
                  <a:schemeClr val="accent1"/>
                </a:solidFill>
                <a:latin typeface="Garamond" panose="02020404030301010803" pitchFamily="18" charset="0"/>
              </a:rPr>
              <a:t>Learnings</a:t>
            </a:r>
            <a:endParaRPr lang="en-ID" sz="3400">
              <a:solidFill>
                <a:schemeClr val="accent1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462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A96151-7A0F-5346-8217-A6D32AC5B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D471-55C0-B840-A41F-01AA920FBD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9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A96151-7A0F-5346-8217-A6D32AC5B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D471-55C0-B840-A41F-01AA920FBD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83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821" y="330208"/>
            <a:ext cx="12534570" cy="87629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/>
              <a:t>TOP PROCEDURES FOR IP PATIENTS – IP Patient histor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97EBB2-A8B4-F144-BF2E-89504F0F33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23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609114" y="1743087"/>
            <a:ext cx="4172788" cy="4460875"/>
          </a:xfrm>
        </p:spPr>
        <p:txBody>
          <a:bodyPr/>
          <a:lstStyle/>
          <a:p>
            <a:pPr lvl="1"/>
            <a:r>
              <a:rPr lang="en-US" sz="2400"/>
              <a:t>Insights- Distribution of In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96.3 percent of the patients joined as inpatients for Medication Reconciliation which also brought in the highest in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The following 14 top procedures had a comparable percentages of inpatients and total number of patients. </a:t>
            </a:r>
          </a:p>
          <a:p>
            <a:endParaRPr lang="en-US"/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A9885071-5536-1454-23B8-3BC75A337BEF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6200000">
            <a:off x="2691093" y="-1162036"/>
            <a:ext cx="3469295" cy="8037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10BD158-6C65-AD48-A967-78AA57A04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FDD0FB4-37EF-DDC7-3631-A240308A0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3668" y="15824"/>
            <a:ext cx="1698964" cy="163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537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8A835B-690F-5534-6CDB-0A1C043E3C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0448" y="-2522725"/>
            <a:ext cx="14458951" cy="4670426"/>
          </a:xfrm>
        </p:spPr>
        <p:txBody>
          <a:bodyPr vert="horz" lIns="0" tIns="0" rIns="2560320" bIns="0" rtlCol="0" anchor="t">
            <a:noAutofit/>
          </a:bodyPr>
          <a:lstStyle/>
          <a:p>
            <a:pPr marL="228577" lvl="3" indent="0">
              <a:buNone/>
            </a:pPr>
            <a:endParaRPr lang="en-US" sz="2000" b="0">
              <a:highlight>
                <a:srgbClr val="C0C0C0"/>
              </a:highlight>
            </a:endParaRPr>
          </a:p>
          <a:p>
            <a:pPr lvl="1" algn="ctr"/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lvl="1"/>
            <a:endParaRPr lang="en-US">
              <a:solidFill>
                <a:srgbClr val="38892F"/>
              </a:solidFill>
              <a:ea typeface="+mn-lt"/>
              <a:cs typeface="+mn-lt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EA459F-F50C-1A5B-2B1D-D884FE0D8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13" y="279604"/>
            <a:ext cx="11263311" cy="876299"/>
          </a:xfrm>
        </p:spPr>
        <p:txBody>
          <a:bodyPr/>
          <a:lstStyle/>
          <a:p>
            <a:r>
              <a:rPr lang="en-US" sz="4400" b="1"/>
              <a:t>METHODOLOG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A8328A0-F3BB-C9D1-F9D9-6706C34DAEB5}"/>
              </a:ext>
            </a:extLst>
          </p:cNvPr>
          <p:cNvSpPr txBox="1"/>
          <p:nvPr/>
        </p:nvSpPr>
        <p:spPr>
          <a:xfrm>
            <a:off x="10806531" y="3883252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>
                <a:solidFill>
                  <a:schemeClr val="bg1"/>
                </a:solidFill>
                <a:cs typeface="Arial" pitchFamily="34" charset="0"/>
              </a:rPr>
              <a:t>Contents Title</a:t>
            </a:r>
            <a:endParaRPr lang="ko-KR" altLang="en-US" sz="12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3" name="Rounded Rectangle 27">
            <a:extLst>
              <a:ext uri="{FF2B5EF4-FFF2-40B4-BE49-F238E27FC236}">
                <a16:creationId xmlns:a16="http://schemas.microsoft.com/office/drawing/2014/main" id="{8177824C-837E-4498-A0B5-B327BDF91B4F}"/>
              </a:ext>
            </a:extLst>
          </p:cNvPr>
          <p:cNvSpPr/>
          <p:nvPr/>
        </p:nvSpPr>
        <p:spPr>
          <a:xfrm>
            <a:off x="11269982" y="3484594"/>
            <a:ext cx="369242" cy="283628"/>
          </a:xfrm>
          <a:custGeom>
            <a:avLst/>
            <a:gdLst/>
            <a:ahLst/>
            <a:cxnLst/>
            <a:rect l="l" t="t" r="r" b="b"/>
            <a:pathLst>
              <a:path w="3186824" h="2447912">
                <a:moveTo>
                  <a:pt x="1917737" y="1021643"/>
                </a:moveTo>
                <a:cubicBezTo>
                  <a:pt x="2188548" y="1021643"/>
                  <a:pt x="2408083" y="1241178"/>
                  <a:pt x="2408083" y="1511989"/>
                </a:cubicBezTo>
                <a:cubicBezTo>
                  <a:pt x="2408083" y="1782800"/>
                  <a:pt x="2188548" y="2002335"/>
                  <a:pt x="1917737" y="2002335"/>
                </a:cubicBezTo>
                <a:cubicBezTo>
                  <a:pt x="1646926" y="2002335"/>
                  <a:pt x="1427391" y="1782800"/>
                  <a:pt x="1427391" y="1511989"/>
                </a:cubicBezTo>
                <a:cubicBezTo>
                  <a:pt x="1427391" y="1241178"/>
                  <a:pt x="1646926" y="1021643"/>
                  <a:pt x="1917737" y="1021643"/>
                </a:cubicBezTo>
                <a:close/>
                <a:moveTo>
                  <a:pt x="1917737" y="827913"/>
                </a:moveTo>
                <a:cubicBezTo>
                  <a:pt x="1539932" y="827913"/>
                  <a:pt x="1233661" y="1134184"/>
                  <a:pt x="1233661" y="1511989"/>
                </a:cubicBezTo>
                <a:cubicBezTo>
                  <a:pt x="1233661" y="1889794"/>
                  <a:pt x="1539932" y="2196065"/>
                  <a:pt x="1917737" y="2196065"/>
                </a:cubicBezTo>
                <a:cubicBezTo>
                  <a:pt x="2295542" y="2196065"/>
                  <a:pt x="2601813" y="1889794"/>
                  <a:pt x="2601813" y="1511989"/>
                </a:cubicBezTo>
                <a:cubicBezTo>
                  <a:pt x="2601813" y="1134184"/>
                  <a:pt x="2295542" y="827913"/>
                  <a:pt x="1917737" y="827913"/>
                </a:cubicBezTo>
                <a:close/>
                <a:moveTo>
                  <a:pt x="1112286" y="675885"/>
                </a:moveTo>
                <a:lnTo>
                  <a:pt x="1112286" y="830188"/>
                </a:lnTo>
                <a:lnTo>
                  <a:pt x="1328310" y="830188"/>
                </a:lnTo>
                <a:lnTo>
                  <a:pt x="1328310" y="675885"/>
                </a:lnTo>
                <a:close/>
                <a:moveTo>
                  <a:pt x="2586084" y="626422"/>
                </a:moveTo>
                <a:lnTo>
                  <a:pt x="2586084" y="830188"/>
                </a:lnTo>
                <a:lnTo>
                  <a:pt x="3001340" y="830188"/>
                </a:lnTo>
                <a:lnTo>
                  <a:pt x="3001340" y="626422"/>
                </a:lnTo>
                <a:close/>
                <a:moveTo>
                  <a:pt x="1593701" y="108218"/>
                </a:moveTo>
                <a:lnTo>
                  <a:pt x="1593701" y="432905"/>
                </a:lnTo>
                <a:lnTo>
                  <a:pt x="2241773" y="432905"/>
                </a:lnTo>
                <a:lnTo>
                  <a:pt x="2241773" y="108218"/>
                </a:lnTo>
                <a:close/>
                <a:moveTo>
                  <a:pt x="1452512" y="0"/>
                </a:moveTo>
                <a:lnTo>
                  <a:pt x="2382963" y="0"/>
                </a:lnTo>
                <a:cubicBezTo>
                  <a:pt x="2433311" y="0"/>
                  <a:pt x="2474127" y="40816"/>
                  <a:pt x="2474127" y="91164"/>
                </a:cubicBezTo>
                <a:lnTo>
                  <a:pt x="2474127" y="432905"/>
                </a:lnTo>
                <a:lnTo>
                  <a:pt x="2933014" y="432905"/>
                </a:lnTo>
                <a:cubicBezTo>
                  <a:pt x="3073189" y="432905"/>
                  <a:pt x="3186824" y="546540"/>
                  <a:pt x="3186824" y="686715"/>
                </a:cubicBezTo>
                <a:lnTo>
                  <a:pt x="3186824" y="2194102"/>
                </a:lnTo>
                <a:cubicBezTo>
                  <a:pt x="3186824" y="2334277"/>
                  <a:pt x="3073189" y="2447912"/>
                  <a:pt x="2933014" y="2447912"/>
                </a:cubicBezTo>
                <a:lnTo>
                  <a:pt x="253810" y="2447912"/>
                </a:lnTo>
                <a:cubicBezTo>
                  <a:pt x="113635" y="2447912"/>
                  <a:pt x="0" y="2334277"/>
                  <a:pt x="0" y="2194102"/>
                </a:cubicBezTo>
                <a:lnTo>
                  <a:pt x="0" y="686715"/>
                </a:lnTo>
                <a:cubicBezTo>
                  <a:pt x="0" y="546540"/>
                  <a:pt x="113635" y="432905"/>
                  <a:pt x="253810" y="432905"/>
                </a:cubicBezTo>
                <a:lnTo>
                  <a:pt x="307082" y="432905"/>
                </a:lnTo>
                <a:lnTo>
                  <a:pt x="307082" y="313169"/>
                </a:lnTo>
                <a:cubicBezTo>
                  <a:pt x="307082" y="287995"/>
                  <a:pt x="327490" y="267587"/>
                  <a:pt x="352664" y="267587"/>
                </a:cubicBezTo>
                <a:lnTo>
                  <a:pt x="817888" y="267587"/>
                </a:lnTo>
                <a:cubicBezTo>
                  <a:pt x="843062" y="267587"/>
                  <a:pt x="863470" y="287995"/>
                  <a:pt x="863470" y="313169"/>
                </a:cubicBezTo>
                <a:lnTo>
                  <a:pt x="863470" y="432905"/>
                </a:lnTo>
                <a:lnTo>
                  <a:pt x="1361348" y="432905"/>
                </a:lnTo>
                <a:lnTo>
                  <a:pt x="1361348" y="91164"/>
                </a:lnTo>
                <a:cubicBezTo>
                  <a:pt x="1361348" y="40816"/>
                  <a:pt x="1402164" y="0"/>
                  <a:pt x="145251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20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964157D-AA5E-B846-B239-B3AF37F8EFA3}"/>
              </a:ext>
            </a:extLst>
          </p:cNvPr>
          <p:cNvSpPr/>
          <p:nvPr/>
        </p:nvSpPr>
        <p:spPr>
          <a:xfrm>
            <a:off x="3178582" y="4850119"/>
            <a:ext cx="9047661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ACE7C95-2A5C-BB1B-2E56-AA6F23716D53}"/>
              </a:ext>
            </a:extLst>
          </p:cNvPr>
          <p:cNvSpPr/>
          <p:nvPr/>
        </p:nvSpPr>
        <p:spPr>
          <a:xfrm>
            <a:off x="2851929" y="4851940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7975B2C-8B60-2460-8CD6-CDE329C27DDC}"/>
              </a:ext>
            </a:extLst>
          </p:cNvPr>
          <p:cNvSpPr/>
          <p:nvPr/>
        </p:nvSpPr>
        <p:spPr>
          <a:xfrm>
            <a:off x="3030913" y="4851940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D5E9370-CDEF-B0D4-3C71-DF526FC62ED9}"/>
              </a:ext>
            </a:extLst>
          </p:cNvPr>
          <p:cNvSpPr/>
          <p:nvPr/>
        </p:nvSpPr>
        <p:spPr>
          <a:xfrm>
            <a:off x="2672915" y="4851940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5A97875-9C74-014B-5DD3-6E2B5A9599A5}"/>
              </a:ext>
            </a:extLst>
          </p:cNvPr>
          <p:cNvSpPr/>
          <p:nvPr/>
        </p:nvSpPr>
        <p:spPr>
          <a:xfrm>
            <a:off x="2523339" y="4851940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FFFAE89-3522-3B9F-72EA-36519AD232AB}"/>
              </a:ext>
            </a:extLst>
          </p:cNvPr>
          <p:cNvSpPr/>
          <p:nvPr/>
        </p:nvSpPr>
        <p:spPr>
          <a:xfrm>
            <a:off x="6852109" y="4617186"/>
            <a:ext cx="56691" cy="54176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A1014B-5002-C8AB-18B7-05385A5D6058}"/>
              </a:ext>
            </a:extLst>
          </p:cNvPr>
          <p:cNvSpPr/>
          <p:nvPr/>
        </p:nvSpPr>
        <p:spPr>
          <a:xfrm>
            <a:off x="9904722" y="4621805"/>
            <a:ext cx="56691" cy="54176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072795-5DF6-B52E-725C-3F735CBE3D8E}"/>
              </a:ext>
            </a:extLst>
          </p:cNvPr>
          <p:cNvSpPr/>
          <p:nvPr/>
        </p:nvSpPr>
        <p:spPr>
          <a:xfrm>
            <a:off x="10860071" y="4612574"/>
            <a:ext cx="56691" cy="54176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A7486B4-06A4-077B-8A1C-00E8E957A93E}"/>
              </a:ext>
            </a:extLst>
          </p:cNvPr>
          <p:cNvSpPr/>
          <p:nvPr/>
        </p:nvSpPr>
        <p:spPr>
          <a:xfrm>
            <a:off x="328627" y="4850120"/>
            <a:ext cx="1816854" cy="10497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07B4D82-8215-949B-03E6-1A2D3D9F71FA}"/>
              </a:ext>
            </a:extLst>
          </p:cNvPr>
          <p:cNvSpPr/>
          <p:nvPr/>
        </p:nvSpPr>
        <p:spPr>
          <a:xfrm>
            <a:off x="2223157" y="4847324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B653BDF-B163-63D8-2EBB-C0C5ED738E55}"/>
              </a:ext>
            </a:extLst>
          </p:cNvPr>
          <p:cNvSpPr/>
          <p:nvPr/>
        </p:nvSpPr>
        <p:spPr>
          <a:xfrm>
            <a:off x="2375562" y="4851943"/>
            <a:ext cx="83158" cy="1007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CFF134-9D30-5E59-8F68-EE2C9DFD07D3}"/>
              </a:ext>
            </a:extLst>
          </p:cNvPr>
          <p:cNvSpPr/>
          <p:nvPr/>
        </p:nvSpPr>
        <p:spPr>
          <a:xfrm>
            <a:off x="1180363" y="4621805"/>
            <a:ext cx="56691" cy="54176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E410714-A1B3-77A4-7A4F-75F1B5F11757}"/>
              </a:ext>
            </a:extLst>
          </p:cNvPr>
          <p:cNvSpPr/>
          <p:nvPr/>
        </p:nvSpPr>
        <p:spPr>
          <a:xfrm>
            <a:off x="1247776" y="3484594"/>
            <a:ext cx="5623384" cy="2740715"/>
          </a:xfrm>
          <a:prstGeom prst="rect">
            <a:avLst/>
          </a:prstGeom>
          <a:solidFill>
            <a:schemeClr val="accent1">
              <a:alpha val="33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439EDA-2CC8-52A5-EB0D-7581798E4CF6}"/>
              </a:ext>
            </a:extLst>
          </p:cNvPr>
          <p:cNvSpPr/>
          <p:nvPr/>
        </p:nvSpPr>
        <p:spPr>
          <a:xfrm>
            <a:off x="6848918" y="3502382"/>
            <a:ext cx="3067085" cy="2740715"/>
          </a:xfrm>
          <a:prstGeom prst="rect">
            <a:avLst/>
          </a:prstGeom>
          <a:solidFill>
            <a:srgbClr val="00B050">
              <a:alpha val="33000"/>
            </a:srgb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E7D5C2-645F-FAFD-0C85-C81EACAA0063}"/>
              </a:ext>
            </a:extLst>
          </p:cNvPr>
          <p:cNvSpPr/>
          <p:nvPr/>
        </p:nvSpPr>
        <p:spPr>
          <a:xfrm>
            <a:off x="9904920" y="3502382"/>
            <a:ext cx="955152" cy="2740715"/>
          </a:xfrm>
          <a:prstGeom prst="rect">
            <a:avLst/>
          </a:prstGeom>
          <a:solidFill>
            <a:schemeClr val="accent3">
              <a:lumMod val="50000"/>
              <a:alpha val="33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C233C7-719B-6DD5-A19F-F39D4EE6220B}"/>
              </a:ext>
            </a:extLst>
          </p:cNvPr>
          <p:cNvSpPr txBox="1"/>
          <p:nvPr/>
        </p:nvSpPr>
        <p:spPr>
          <a:xfrm rot="10800000" flipV="1">
            <a:off x="1278690" y="5215322"/>
            <a:ext cx="1327807" cy="10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Jan 1,</a:t>
            </a: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191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FCBCB0-7EE4-4C0B-9B65-B1B05CF2CF8F}"/>
              </a:ext>
            </a:extLst>
          </p:cNvPr>
          <p:cNvSpPr txBox="1"/>
          <p:nvPr/>
        </p:nvSpPr>
        <p:spPr>
          <a:xfrm rot="10800000" flipV="1">
            <a:off x="6866879" y="5200181"/>
            <a:ext cx="1327807" cy="1049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Jan 1,</a:t>
            </a: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2017	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384431-69B9-C567-8834-DD6A2A795795}"/>
              </a:ext>
            </a:extLst>
          </p:cNvPr>
          <p:cNvSpPr txBox="1"/>
          <p:nvPr/>
        </p:nvSpPr>
        <p:spPr>
          <a:xfrm rot="10800000" flipV="1">
            <a:off x="10841183" y="5196271"/>
            <a:ext cx="1327807" cy="628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b="1"/>
              <a:t>Dec 30,</a:t>
            </a: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b="1"/>
              <a:t>2019</a:t>
            </a:r>
            <a:endParaRPr lang="en-US" sz="1800" b="1" i="0"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AA6949-07B0-A383-F1C7-A41995C65E56}"/>
              </a:ext>
            </a:extLst>
          </p:cNvPr>
          <p:cNvSpPr txBox="1"/>
          <p:nvPr/>
        </p:nvSpPr>
        <p:spPr>
          <a:xfrm rot="10800000" flipV="1">
            <a:off x="9773607" y="5187965"/>
            <a:ext cx="1621103" cy="452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Jun 30,</a:t>
            </a: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800" b="1" i="0">
                <a:latin typeface="+mn-lt"/>
              </a:rPr>
              <a:t>2018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F964DCB-C671-3CF1-8E9B-03B0073BF221}"/>
              </a:ext>
            </a:extLst>
          </p:cNvPr>
          <p:cNvSpPr txBox="1"/>
          <p:nvPr/>
        </p:nvSpPr>
        <p:spPr>
          <a:xfrm rot="10800000" flipV="1">
            <a:off x="2971320" y="4149604"/>
            <a:ext cx="3598534" cy="4844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just">
              <a:lnSpc>
                <a:spcPts val="2100"/>
              </a:lnSpc>
              <a:spcAft>
                <a:spcPts val="900"/>
              </a:spcAft>
            </a:pP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IENT HISTORY</a:t>
            </a:r>
            <a:endParaRPr lang="en-US" sz="1600" b="1" i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4E38040-38D8-0713-18DB-04BD430DA543}"/>
              </a:ext>
            </a:extLst>
          </p:cNvPr>
          <p:cNvSpPr txBox="1"/>
          <p:nvPr/>
        </p:nvSpPr>
        <p:spPr>
          <a:xfrm rot="10800000" flipV="1">
            <a:off x="7530782" y="4091822"/>
            <a:ext cx="2100469" cy="4844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just">
              <a:lnSpc>
                <a:spcPts val="2100"/>
              </a:lnSpc>
              <a:spcAft>
                <a:spcPts val="900"/>
              </a:spcAft>
            </a:pPr>
            <a:r>
              <a:rPr lang="en-US" sz="1600" b="1" i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INING </a:t>
            </a: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</a:t>
            </a:r>
            <a:endParaRPr lang="en-US" sz="1600" b="1" i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DB35D09-8896-7A71-4CCC-0F750F0CEB8D}"/>
              </a:ext>
            </a:extLst>
          </p:cNvPr>
          <p:cNvSpPr txBox="1"/>
          <p:nvPr/>
        </p:nvSpPr>
        <p:spPr>
          <a:xfrm rot="10800000" flipV="1">
            <a:off x="9934892" y="4041214"/>
            <a:ext cx="925180" cy="4844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just">
              <a:lnSpc>
                <a:spcPts val="2100"/>
              </a:lnSpc>
              <a:spcAft>
                <a:spcPts val="900"/>
              </a:spcAft>
            </a:pP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ING</a:t>
            </a:r>
            <a:r>
              <a:rPr lang="en-US" sz="1600" b="1" i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</a:t>
            </a:r>
            <a:endParaRPr lang="en-US" sz="1600" b="1" i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2210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09750B-1206-28FC-FDFA-78739228AB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D11607-AE96-69D8-5E53-771F87A4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342390"/>
            <a:ext cx="11263311" cy="876299"/>
          </a:xfrm>
        </p:spPr>
        <p:txBody>
          <a:bodyPr/>
          <a:lstStyle/>
          <a:p>
            <a:r>
              <a:rPr lang="en-US" b="1"/>
              <a:t>Learnings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3C2CE6C9-3EE8-FA22-A697-45DA03750B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598733"/>
              </p:ext>
            </p:extLst>
          </p:nvPr>
        </p:nvGraphicFramePr>
        <p:xfrm>
          <a:off x="1552655" y="1716786"/>
          <a:ext cx="9420146" cy="4217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A7DB1FA-1AB7-2DA1-9299-3E299591A415}"/>
              </a:ext>
            </a:extLst>
          </p:cNvPr>
          <p:cNvSpPr txBox="1"/>
          <p:nvPr/>
        </p:nvSpPr>
        <p:spPr>
          <a:xfrm>
            <a:off x="4910791" y="1985334"/>
            <a:ext cx="3456461" cy="15928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800" b="0" i="0">
                <a:latin typeface="+mn-lt"/>
              </a:rPr>
              <a:t>Python</a:t>
            </a: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/>
              <a:t>Data Analysis</a:t>
            </a:r>
            <a:endParaRPr lang="en-US">
              <a:cs typeface="Arial"/>
            </a:endParaRP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>
                <a:cs typeface="Arial"/>
              </a:rPr>
              <a:t>Data Visualization</a:t>
            </a:r>
            <a:endParaRPr lang="en-US"/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800" b="0" i="0">
                <a:latin typeface="+mn-lt"/>
              </a:rPr>
              <a:t>Machine Learning</a:t>
            </a:r>
            <a:endParaRPr lang="en-US" sz="1800" b="0" i="0">
              <a:latin typeface="+mn-lt"/>
              <a:cs typeface="Arial"/>
            </a:endParaRP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>
              <a:cs typeface="Arial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64F3FB-BAC9-FE26-E7F4-C9B7EFFA50DF}"/>
              </a:ext>
            </a:extLst>
          </p:cNvPr>
          <p:cNvSpPr txBox="1"/>
          <p:nvPr/>
        </p:nvSpPr>
        <p:spPr>
          <a:xfrm>
            <a:off x="4910791" y="4076256"/>
            <a:ext cx="3256861" cy="180307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>
                <a:cs typeface="Arial"/>
              </a:rPr>
              <a:t>Effective Communication</a:t>
            </a:r>
            <a:endParaRPr lang="en-US"/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>
                <a:cs typeface="Arial"/>
              </a:rPr>
              <a:t>Team-work</a:t>
            </a: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ime Management</a:t>
            </a:r>
            <a:endParaRPr lang="en-US" sz="1800" b="0" i="0">
              <a:solidFill>
                <a:srgbClr val="000000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IN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ask prioritization</a:t>
            </a:r>
            <a:endParaRPr lang="en-US" sz="1800" b="0" i="0">
              <a:latin typeface="+mn-lt"/>
              <a:cs typeface="Arial"/>
            </a:endParaRP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endParaRPr lang="en-US">
              <a:cs typeface="Arial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57125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0BA13B4-D873-E0CC-CD0C-99524929F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079" y="556598"/>
            <a:ext cx="10515600" cy="710009"/>
          </a:xfr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1"/>
              </a:buClr>
              <a:buSzPts val="4800"/>
              <a:buFont typeface="Arial"/>
            </a:pPr>
            <a:r>
              <a:rPr lang="en-US" sz="4000" b="1">
                <a:solidFill>
                  <a:srgbClr val="063890"/>
                </a:solidFill>
                <a:latin typeface="Garamond" panose="02020404030301010803" pitchFamily="18" charset="0"/>
                <a:cs typeface="Arial"/>
                <a:sym typeface="Arial"/>
              </a:rPr>
              <a:t>Problem Overview</a:t>
            </a:r>
            <a:endParaRPr lang="en-IN" sz="4000" b="1">
              <a:solidFill>
                <a:srgbClr val="063890"/>
              </a:solidFill>
              <a:latin typeface="Garamond" panose="02020404030301010803" pitchFamily="18" charset="0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1E5933-198C-5F7D-C6FB-863A830A51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 smtClean="0"/>
              <a:pPr lvl="8"/>
              <a:t>26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BCEAEE-1C39-67F0-9051-0A167ED3E948}"/>
              </a:ext>
            </a:extLst>
          </p:cNvPr>
          <p:cNvSpPr txBox="1"/>
          <p:nvPr/>
        </p:nvSpPr>
        <p:spPr>
          <a:xfrm>
            <a:off x="5638800" y="2974258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6C49CD0-BCEE-C659-D618-86CE42CC1F90}"/>
              </a:ext>
            </a:extLst>
          </p:cNvPr>
          <p:cNvGraphicFramePr/>
          <p:nvPr/>
        </p:nvGraphicFramePr>
        <p:xfrm>
          <a:off x="4723261" y="1530971"/>
          <a:ext cx="6777132" cy="4715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5B04322-E82A-91A7-D57E-151F1AC0E3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62180" y="3151535"/>
            <a:ext cx="353240" cy="382330"/>
          </a:xfrm>
          <a:prstGeom prst="rect">
            <a:avLst/>
          </a:prstGeom>
        </p:spPr>
      </p:pic>
      <p:pic>
        <p:nvPicPr>
          <p:cNvPr id="15" name="Picture 8" descr="Bulb - Free technology icons">
            <a:extLst>
              <a:ext uri="{FF2B5EF4-FFF2-40B4-BE49-F238E27FC236}">
                <a16:creationId xmlns:a16="http://schemas.microsoft.com/office/drawing/2014/main" id="{B4C73727-5783-518F-DB39-D16DA8BFB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012" y="2526219"/>
            <a:ext cx="2923024" cy="292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phic 22" descr="Rating outline">
            <a:extLst>
              <a:ext uri="{FF2B5EF4-FFF2-40B4-BE49-F238E27FC236}">
                <a16:creationId xmlns:a16="http://schemas.microsoft.com/office/drawing/2014/main" id="{EB8EA70E-445D-9B1B-91F7-3718D5DC07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361314" y="4153022"/>
            <a:ext cx="697130" cy="697130"/>
          </a:xfrm>
          <a:prstGeom prst="rect">
            <a:avLst/>
          </a:prstGeom>
        </p:spPr>
      </p:pic>
      <p:pic>
        <p:nvPicPr>
          <p:cNvPr id="27" name="Graphic 26" descr="Sleep outline">
            <a:extLst>
              <a:ext uri="{FF2B5EF4-FFF2-40B4-BE49-F238E27FC236}">
                <a16:creationId xmlns:a16="http://schemas.microsoft.com/office/drawing/2014/main" id="{2FDF0A47-1D37-3EA5-4E32-969FE33727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41670" y="1910861"/>
            <a:ext cx="697130" cy="697130"/>
          </a:xfrm>
          <a:prstGeom prst="rect">
            <a:avLst/>
          </a:prstGeom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DEEC7488-867E-85FD-9854-5B598501E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403" y="5235731"/>
            <a:ext cx="591158" cy="591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27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79A8675-A847-209E-C3C2-0A9D66E96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554957"/>
            <a:ext cx="10515600" cy="710009"/>
          </a:xfr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1"/>
              </a:buClr>
              <a:buSzPts val="4800"/>
              <a:buFont typeface="Arial"/>
            </a:pPr>
            <a:r>
              <a:rPr lang="en-US" sz="4000" b="1">
                <a:solidFill>
                  <a:srgbClr val="063890"/>
                </a:solidFill>
                <a:latin typeface="Garamond" panose="02020404030301010803" pitchFamily="18" charset="0"/>
                <a:cs typeface="Arial"/>
                <a:sym typeface="Arial"/>
              </a:rPr>
              <a:t>Proposed Solution</a:t>
            </a:r>
            <a:endParaRPr lang="en-IN" sz="4000" b="1">
              <a:solidFill>
                <a:srgbClr val="063890"/>
              </a:solidFill>
              <a:latin typeface="Garamond" panose="02020404030301010803" pitchFamily="18" charset="0"/>
              <a:cs typeface="Arial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FC38EE-9DFE-F9A2-8769-084F000F0C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 smtClean="0"/>
              <a:pPr lvl="8"/>
              <a:t>27</a:t>
            </a:fld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F44D0B1-9934-E76E-F48D-B0A45C524135}"/>
              </a:ext>
            </a:extLst>
          </p:cNvPr>
          <p:cNvSpPr/>
          <p:nvPr/>
        </p:nvSpPr>
        <p:spPr>
          <a:xfrm>
            <a:off x="590550" y="1944211"/>
            <a:ext cx="7612418" cy="165906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</a:t>
            </a:r>
            <a:r>
              <a:rPr lang="en-US" b="0" i="0">
                <a:solidFill>
                  <a:srgbClr val="3741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propensity of patients being admitted to a hospital within the next six months.</a:t>
            </a: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3741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alyzing trends and historical diseases of patients.</a:t>
            </a: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D53CB60-AA5E-5A15-BB6E-16EFB5647B53}"/>
              </a:ext>
            </a:extLst>
          </p:cNvPr>
          <p:cNvSpPr/>
          <p:nvPr/>
        </p:nvSpPr>
        <p:spPr>
          <a:xfrm>
            <a:off x="842758" y="1405350"/>
            <a:ext cx="3525056" cy="710009"/>
          </a:xfrm>
          <a:custGeom>
            <a:avLst/>
            <a:gdLst>
              <a:gd name="connsiteX0" fmla="*/ 0 w 2318319"/>
              <a:gd name="connsiteY0" fmla="*/ 92192 h 921919"/>
              <a:gd name="connsiteX1" fmla="*/ 92192 w 2318319"/>
              <a:gd name="connsiteY1" fmla="*/ 0 h 921919"/>
              <a:gd name="connsiteX2" fmla="*/ 2226127 w 2318319"/>
              <a:gd name="connsiteY2" fmla="*/ 0 h 921919"/>
              <a:gd name="connsiteX3" fmla="*/ 2318319 w 2318319"/>
              <a:gd name="connsiteY3" fmla="*/ 92192 h 921919"/>
              <a:gd name="connsiteX4" fmla="*/ 2318319 w 2318319"/>
              <a:gd name="connsiteY4" fmla="*/ 829727 h 921919"/>
              <a:gd name="connsiteX5" fmla="*/ 2226127 w 2318319"/>
              <a:gd name="connsiteY5" fmla="*/ 921919 h 921919"/>
              <a:gd name="connsiteX6" fmla="*/ 92192 w 2318319"/>
              <a:gd name="connsiteY6" fmla="*/ 921919 h 921919"/>
              <a:gd name="connsiteX7" fmla="*/ 0 w 2318319"/>
              <a:gd name="connsiteY7" fmla="*/ 829727 h 921919"/>
              <a:gd name="connsiteX8" fmla="*/ 0 w 2318319"/>
              <a:gd name="connsiteY8" fmla="*/ 92192 h 92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18319" h="921919">
                <a:moveTo>
                  <a:pt x="0" y="92192"/>
                </a:moveTo>
                <a:cubicBezTo>
                  <a:pt x="0" y="41276"/>
                  <a:pt x="41276" y="0"/>
                  <a:pt x="92192" y="0"/>
                </a:cubicBezTo>
                <a:lnTo>
                  <a:pt x="2226127" y="0"/>
                </a:lnTo>
                <a:cubicBezTo>
                  <a:pt x="2277043" y="0"/>
                  <a:pt x="2318319" y="41276"/>
                  <a:pt x="2318319" y="92192"/>
                </a:cubicBezTo>
                <a:lnTo>
                  <a:pt x="2318319" y="829727"/>
                </a:lnTo>
                <a:cubicBezTo>
                  <a:pt x="2318319" y="880643"/>
                  <a:pt x="2277043" y="921919"/>
                  <a:pt x="2226127" y="921919"/>
                </a:cubicBezTo>
                <a:lnTo>
                  <a:pt x="92192" y="921919"/>
                </a:lnTo>
                <a:cubicBezTo>
                  <a:pt x="41276" y="921919"/>
                  <a:pt x="0" y="880643"/>
                  <a:pt x="0" y="829727"/>
                </a:cubicBezTo>
                <a:lnTo>
                  <a:pt x="0" y="921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72" tIns="44782" rIns="53672" bIns="4478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Arial" panose="020B0604020202020204" pitchFamily="34" charset="0"/>
                <a:cs typeface="Arial" panose="020B0604020202020204" pitchFamily="34" charset="0"/>
              </a:rPr>
              <a:t>TITL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589EF95-7796-B0F5-2AF2-C5A443A29C01}"/>
              </a:ext>
            </a:extLst>
          </p:cNvPr>
          <p:cNvSpPr/>
          <p:nvPr/>
        </p:nvSpPr>
        <p:spPr>
          <a:xfrm>
            <a:off x="590553" y="4453670"/>
            <a:ext cx="7612415" cy="165906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en-US" sz="1800" kern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9EC37C8-B452-5E60-19D4-5EAF5D63C0E0}"/>
              </a:ext>
            </a:extLst>
          </p:cNvPr>
          <p:cNvSpPr/>
          <p:nvPr/>
        </p:nvSpPr>
        <p:spPr>
          <a:xfrm>
            <a:off x="842758" y="3893928"/>
            <a:ext cx="3525056" cy="710009"/>
          </a:xfrm>
          <a:custGeom>
            <a:avLst/>
            <a:gdLst>
              <a:gd name="connsiteX0" fmla="*/ 0 w 2318319"/>
              <a:gd name="connsiteY0" fmla="*/ 92192 h 921919"/>
              <a:gd name="connsiteX1" fmla="*/ 92192 w 2318319"/>
              <a:gd name="connsiteY1" fmla="*/ 0 h 921919"/>
              <a:gd name="connsiteX2" fmla="*/ 2226127 w 2318319"/>
              <a:gd name="connsiteY2" fmla="*/ 0 h 921919"/>
              <a:gd name="connsiteX3" fmla="*/ 2318319 w 2318319"/>
              <a:gd name="connsiteY3" fmla="*/ 92192 h 921919"/>
              <a:gd name="connsiteX4" fmla="*/ 2318319 w 2318319"/>
              <a:gd name="connsiteY4" fmla="*/ 829727 h 921919"/>
              <a:gd name="connsiteX5" fmla="*/ 2226127 w 2318319"/>
              <a:gd name="connsiteY5" fmla="*/ 921919 h 921919"/>
              <a:gd name="connsiteX6" fmla="*/ 92192 w 2318319"/>
              <a:gd name="connsiteY6" fmla="*/ 921919 h 921919"/>
              <a:gd name="connsiteX7" fmla="*/ 0 w 2318319"/>
              <a:gd name="connsiteY7" fmla="*/ 829727 h 921919"/>
              <a:gd name="connsiteX8" fmla="*/ 0 w 2318319"/>
              <a:gd name="connsiteY8" fmla="*/ 92192 h 92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18319" h="921919">
                <a:moveTo>
                  <a:pt x="0" y="92192"/>
                </a:moveTo>
                <a:cubicBezTo>
                  <a:pt x="0" y="41276"/>
                  <a:pt x="41276" y="0"/>
                  <a:pt x="92192" y="0"/>
                </a:cubicBezTo>
                <a:lnTo>
                  <a:pt x="2226127" y="0"/>
                </a:lnTo>
                <a:cubicBezTo>
                  <a:pt x="2277043" y="0"/>
                  <a:pt x="2318319" y="41276"/>
                  <a:pt x="2318319" y="92192"/>
                </a:cubicBezTo>
                <a:lnTo>
                  <a:pt x="2318319" y="829727"/>
                </a:lnTo>
                <a:cubicBezTo>
                  <a:pt x="2318319" y="880643"/>
                  <a:pt x="2277043" y="921919"/>
                  <a:pt x="2226127" y="921919"/>
                </a:cubicBezTo>
                <a:lnTo>
                  <a:pt x="92192" y="921919"/>
                </a:lnTo>
                <a:cubicBezTo>
                  <a:pt x="41276" y="921919"/>
                  <a:pt x="0" y="880643"/>
                  <a:pt x="0" y="829727"/>
                </a:cubicBezTo>
                <a:lnTo>
                  <a:pt x="0" y="9219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72" tIns="44782" rIns="53672" bIns="4478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Arial" panose="020B0604020202020204" pitchFamily="34" charset="0"/>
                <a:cs typeface="Arial" panose="020B0604020202020204" pitchFamily="34" charset="0"/>
              </a:rPr>
              <a:t>Long Term Vision</a:t>
            </a:r>
          </a:p>
        </p:txBody>
      </p:sp>
      <p:sp>
        <p:nvSpPr>
          <p:cNvPr id="11" name="AutoShape 10">
            <a:extLst>
              <a:ext uri="{FF2B5EF4-FFF2-40B4-BE49-F238E27FC236}">
                <a16:creationId xmlns:a16="http://schemas.microsoft.com/office/drawing/2014/main" id="{432799AB-06F3-408E-B986-C96B684C18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2013" y="3276600"/>
            <a:ext cx="3335152" cy="3335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D668016-91AF-F0DD-C810-4616CBE301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7165" y="175551"/>
            <a:ext cx="2410161" cy="6154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25BD5F-6C87-A457-8968-998C40D9CE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1200" y="1590697"/>
            <a:ext cx="12204594" cy="4670426"/>
          </a:xfrm>
        </p:spPr>
        <p:txBody>
          <a:bodyPr/>
          <a:lstStyle/>
          <a:p>
            <a:r>
              <a:rPr lang="en-US"/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9A80D8-421E-F65B-8FEB-D248669B4F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76D074-B6C5-977E-DB50-64899EC30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83" y="-116232"/>
            <a:ext cx="11263311" cy="876299"/>
          </a:xfrm>
        </p:spPr>
        <p:txBody>
          <a:bodyPr/>
          <a:lstStyle/>
          <a:p>
            <a:r>
              <a:rPr lang="en-US" sz="4000" b="1"/>
              <a:t>TIMELINE</a:t>
            </a:r>
          </a:p>
        </p:txBody>
      </p:sp>
      <p:sp>
        <p:nvSpPr>
          <p:cNvPr id="7" name="자유형: 도형 1092">
            <a:extLst>
              <a:ext uri="{FF2B5EF4-FFF2-40B4-BE49-F238E27FC236}">
                <a16:creationId xmlns:a16="http://schemas.microsoft.com/office/drawing/2014/main" id="{821FEE7D-F55E-4BA0-9678-485257F607B0}"/>
              </a:ext>
            </a:extLst>
          </p:cNvPr>
          <p:cNvSpPr/>
          <p:nvPr/>
        </p:nvSpPr>
        <p:spPr>
          <a:xfrm>
            <a:off x="1673170" y="3523884"/>
            <a:ext cx="1825971" cy="419380"/>
          </a:xfrm>
          <a:custGeom>
            <a:avLst/>
            <a:gdLst>
              <a:gd name="connsiteX0" fmla="*/ 92086 w 1825971"/>
              <a:gd name="connsiteY0" fmla="*/ 0 h 552506"/>
              <a:gd name="connsiteX1" fmla="*/ 1733885 w 1825971"/>
              <a:gd name="connsiteY1" fmla="*/ 0 h 552506"/>
              <a:gd name="connsiteX2" fmla="*/ 1825971 w 1825971"/>
              <a:gd name="connsiteY2" fmla="*/ 92086 h 552506"/>
              <a:gd name="connsiteX3" fmla="*/ 1825971 w 1825971"/>
              <a:gd name="connsiteY3" fmla="*/ 460420 h 552506"/>
              <a:gd name="connsiteX4" fmla="*/ 1733885 w 1825971"/>
              <a:gd name="connsiteY4" fmla="*/ 552506 h 552506"/>
              <a:gd name="connsiteX5" fmla="*/ 92086 w 1825971"/>
              <a:gd name="connsiteY5" fmla="*/ 552506 h 552506"/>
              <a:gd name="connsiteX6" fmla="*/ 0 w 1825971"/>
              <a:gd name="connsiteY6" fmla="*/ 460420 h 552506"/>
              <a:gd name="connsiteX7" fmla="*/ 0 w 1825971"/>
              <a:gd name="connsiteY7" fmla="*/ 359421 h 552506"/>
              <a:gd name="connsiteX8" fmla="*/ 529928 w 1825971"/>
              <a:gd name="connsiteY8" fmla="*/ 359421 h 552506"/>
              <a:gd name="connsiteX9" fmla="*/ 529928 w 1825971"/>
              <a:gd name="connsiteY9" fmla="*/ 442589 h 552506"/>
              <a:gd name="connsiteX10" fmla="*/ 696264 w 1825971"/>
              <a:gd name="connsiteY10" fmla="*/ 276253 h 552506"/>
              <a:gd name="connsiteX11" fmla="*/ 529928 w 1825971"/>
              <a:gd name="connsiteY11" fmla="*/ 109917 h 552506"/>
              <a:gd name="connsiteX12" fmla="*/ 529928 w 1825971"/>
              <a:gd name="connsiteY12" fmla="*/ 193085 h 552506"/>
              <a:gd name="connsiteX13" fmla="*/ 0 w 1825971"/>
              <a:gd name="connsiteY13" fmla="*/ 193085 h 552506"/>
              <a:gd name="connsiteX14" fmla="*/ 0 w 1825971"/>
              <a:gd name="connsiteY14" fmla="*/ 92086 h 552506"/>
              <a:gd name="connsiteX15" fmla="*/ 92086 w 1825971"/>
              <a:gd name="connsiteY15" fmla="*/ 0 h 55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25971" h="552506">
                <a:moveTo>
                  <a:pt x="92086" y="0"/>
                </a:moveTo>
                <a:lnTo>
                  <a:pt x="1733885" y="0"/>
                </a:lnTo>
                <a:cubicBezTo>
                  <a:pt x="1784743" y="0"/>
                  <a:pt x="1825971" y="41228"/>
                  <a:pt x="1825971" y="92086"/>
                </a:cubicBezTo>
                <a:lnTo>
                  <a:pt x="1825971" y="460420"/>
                </a:lnTo>
                <a:cubicBezTo>
                  <a:pt x="1825971" y="511278"/>
                  <a:pt x="1784743" y="552506"/>
                  <a:pt x="1733885" y="552506"/>
                </a:cubicBezTo>
                <a:lnTo>
                  <a:pt x="92086" y="552506"/>
                </a:lnTo>
                <a:cubicBezTo>
                  <a:pt x="41228" y="552506"/>
                  <a:pt x="0" y="511278"/>
                  <a:pt x="0" y="460420"/>
                </a:cubicBezTo>
                <a:lnTo>
                  <a:pt x="0" y="359421"/>
                </a:lnTo>
                <a:lnTo>
                  <a:pt x="529928" y="359421"/>
                </a:lnTo>
                <a:lnTo>
                  <a:pt x="529928" y="442589"/>
                </a:lnTo>
                <a:lnTo>
                  <a:pt x="696264" y="276253"/>
                </a:lnTo>
                <a:lnTo>
                  <a:pt x="529928" y="109917"/>
                </a:lnTo>
                <a:lnTo>
                  <a:pt x="529928" y="193085"/>
                </a:lnTo>
                <a:lnTo>
                  <a:pt x="0" y="193085"/>
                </a:lnTo>
                <a:lnTo>
                  <a:pt x="0" y="92086"/>
                </a:lnTo>
                <a:cubicBezTo>
                  <a:pt x="0" y="41228"/>
                  <a:pt x="41228" y="0"/>
                  <a:pt x="9208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8" name="자유형: 도형 1093">
            <a:extLst>
              <a:ext uri="{FF2B5EF4-FFF2-40B4-BE49-F238E27FC236}">
                <a16:creationId xmlns:a16="http://schemas.microsoft.com/office/drawing/2014/main" id="{DA11FE42-D848-4ABB-812D-E6DFC53ADEDF}"/>
              </a:ext>
            </a:extLst>
          </p:cNvPr>
          <p:cNvSpPr/>
          <p:nvPr/>
        </p:nvSpPr>
        <p:spPr>
          <a:xfrm>
            <a:off x="3786534" y="3531327"/>
            <a:ext cx="1825971" cy="419380"/>
          </a:xfrm>
          <a:custGeom>
            <a:avLst/>
            <a:gdLst>
              <a:gd name="connsiteX0" fmla="*/ 92086 w 1825971"/>
              <a:gd name="connsiteY0" fmla="*/ 0 h 552506"/>
              <a:gd name="connsiteX1" fmla="*/ 1733885 w 1825971"/>
              <a:gd name="connsiteY1" fmla="*/ 0 h 552506"/>
              <a:gd name="connsiteX2" fmla="*/ 1825971 w 1825971"/>
              <a:gd name="connsiteY2" fmla="*/ 92086 h 552506"/>
              <a:gd name="connsiteX3" fmla="*/ 1825971 w 1825971"/>
              <a:gd name="connsiteY3" fmla="*/ 460420 h 552506"/>
              <a:gd name="connsiteX4" fmla="*/ 1733885 w 1825971"/>
              <a:gd name="connsiteY4" fmla="*/ 552506 h 552506"/>
              <a:gd name="connsiteX5" fmla="*/ 92086 w 1825971"/>
              <a:gd name="connsiteY5" fmla="*/ 552506 h 552506"/>
              <a:gd name="connsiteX6" fmla="*/ 0 w 1825971"/>
              <a:gd name="connsiteY6" fmla="*/ 460420 h 552506"/>
              <a:gd name="connsiteX7" fmla="*/ 0 w 1825971"/>
              <a:gd name="connsiteY7" fmla="*/ 359421 h 552506"/>
              <a:gd name="connsiteX8" fmla="*/ 529928 w 1825971"/>
              <a:gd name="connsiteY8" fmla="*/ 359421 h 552506"/>
              <a:gd name="connsiteX9" fmla="*/ 529928 w 1825971"/>
              <a:gd name="connsiteY9" fmla="*/ 442589 h 552506"/>
              <a:gd name="connsiteX10" fmla="*/ 696264 w 1825971"/>
              <a:gd name="connsiteY10" fmla="*/ 276253 h 552506"/>
              <a:gd name="connsiteX11" fmla="*/ 529928 w 1825971"/>
              <a:gd name="connsiteY11" fmla="*/ 109917 h 552506"/>
              <a:gd name="connsiteX12" fmla="*/ 529928 w 1825971"/>
              <a:gd name="connsiteY12" fmla="*/ 193085 h 552506"/>
              <a:gd name="connsiteX13" fmla="*/ 0 w 1825971"/>
              <a:gd name="connsiteY13" fmla="*/ 193085 h 552506"/>
              <a:gd name="connsiteX14" fmla="*/ 0 w 1825971"/>
              <a:gd name="connsiteY14" fmla="*/ 92086 h 552506"/>
              <a:gd name="connsiteX15" fmla="*/ 92086 w 1825971"/>
              <a:gd name="connsiteY15" fmla="*/ 0 h 55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25971" h="552506">
                <a:moveTo>
                  <a:pt x="92086" y="0"/>
                </a:moveTo>
                <a:lnTo>
                  <a:pt x="1733885" y="0"/>
                </a:lnTo>
                <a:cubicBezTo>
                  <a:pt x="1784743" y="0"/>
                  <a:pt x="1825971" y="41228"/>
                  <a:pt x="1825971" y="92086"/>
                </a:cubicBezTo>
                <a:lnTo>
                  <a:pt x="1825971" y="460420"/>
                </a:lnTo>
                <a:cubicBezTo>
                  <a:pt x="1825971" y="511278"/>
                  <a:pt x="1784743" y="552506"/>
                  <a:pt x="1733885" y="552506"/>
                </a:cubicBezTo>
                <a:lnTo>
                  <a:pt x="92086" y="552506"/>
                </a:lnTo>
                <a:cubicBezTo>
                  <a:pt x="41228" y="552506"/>
                  <a:pt x="0" y="511278"/>
                  <a:pt x="0" y="460420"/>
                </a:cubicBezTo>
                <a:lnTo>
                  <a:pt x="0" y="359421"/>
                </a:lnTo>
                <a:lnTo>
                  <a:pt x="529928" y="359421"/>
                </a:lnTo>
                <a:lnTo>
                  <a:pt x="529928" y="442589"/>
                </a:lnTo>
                <a:lnTo>
                  <a:pt x="696264" y="276253"/>
                </a:lnTo>
                <a:lnTo>
                  <a:pt x="529928" y="109917"/>
                </a:lnTo>
                <a:lnTo>
                  <a:pt x="529928" y="193085"/>
                </a:lnTo>
                <a:lnTo>
                  <a:pt x="0" y="193085"/>
                </a:lnTo>
                <a:lnTo>
                  <a:pt x="0" y="92086"/>
                </a:lnTo>
                <a:cubicBezTo>
                  <a:pt x="0" y="41228"/>
                  <a:pt x="41228" y="0"/>
                  <a:pt x="9208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0" name="자유형: 도형 1095">
            <a:extLst>
              <a:ext uri="{FF2B5EF4-FFF2-40B4-BE49-F238E27FC236}">
                <a16:creationId xmlns:a16="http://schemas.microsoft.com/office/drawing/2014/main" id="{D7D28302-7D4C-43A6-887D-4332A6A45C86}"/>
              </a:ext>
            </a:extLst>
          </p:cNvPr>
          <p:cNvSpPr/>
          <p:nvPr/>
        </p:nvSpPr>
        <p:spPr>
          <a:xfrm>
            <a:off x="5899898" y="3531327"/>
            <a:ext cx="1825971" cy="419380"/>
          </a:xfrm>
          <a:custGeom>
            <a:avLst/>
            <a:gdLst>
              <a:gd name="connsiteX0" fmla="*/ 92086 w 1825971"/>
              <a:gd name="connsiteY0" fmla="*/ 0 h 552506"/>
              <a:gd name="connsiteX1" fmla="*/ 1733885 w 1825971"/>
              <a:gd name="connsiteY1" fmla="*/ 0 h 552506"/>
              <a:gd name="connsiteX2" fmla="*/ 1825971 w 1825971"/>
              <a:gd name="connsiteY2" fmla="*/ 92086 h 552506"/>
              <a:gd name="connsiteX3" fmla="*/ 1825971 w 1825971"/>
              <a:gd name="connsiteY3" fmla="*/ 460420 h 552506"/>
              <a:gd name="connsiteX4" fmla="*/ 1733885 w 1825971"/>
              <a:gd name="connsiteY4" fmla="*/ 552506 h 552506"/>
              <a:gd name="connsiteX5" fmla="*/ 92086 w 1825971"/>
              <a:gd name="connsiteY5" fmla="*/ 552506 h 552506"/>
              <a:gd name="connsiteX6" fmla="*/ 0 w 1825971"/>
              <a:gd name="connsiteY6" fmla="*/ 460420 h 552506"/>
              <a:gd name="connsiteX7" fmla="*/ 0 w 1825971"/>
              <a:gd name="connsiteY7" fmla="*/ 359421 h 552506"/>
              <a:gd name="connsiteX8" fmla="*/ 529928 w 1825971"/>
              <a:gd name="connsiteY8" fmla="*/ 359421 h 552506"/>
              <a:gd name="connsiteX9" fmla="*/ 529928 w 1825971"/>
              <a:gd name="connsiteY9" fmla="*/ 442589 h 552506"/>
              <a:gd name="connsiteX10" fmla="*/ 696264 w 1825971"/>
              <a:gd name="connsiteY10" fmla="*/ 276253 h 552506"/>
              <a:gd name="connsiteX11" fmla="*/ 529928 w 1825971"/>
              <a:gd name="connsiteY11" fmla="*/ 109917 h 552506"/>
              <a:gd name="connsiteX12" fmla="*/ 529928 w 1825971"/>
              <a:gd name="connsiteY12" fmla="*/ 193085 h 552506"/>
              <a:gd name="connsiteX13" fmla="*/ 0 w 1825971"/>
              <a:gd name="connsiteY13" fmla="*/ 193085 h 552506"/>
              <a:gd name="connsiteX14" fmla="*/ 0 w 1825971"/>
              <a:gd name="connsiteY14" fmla="*/ 92086 h 552506"/>
              <a:gd name="connsiteX15" fmla="*/ 92086 w 1825971"/>
              <a:gd name="connsiteY15" fmla="*/ 0 h 55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25971" h="552506">
                <a:moveTo>
                  <a:pt x="92086" y="0"/>
                </a:moveTo>
                <a:lnTo>
                  <a:pt x="1733885" y="0"/>
                </a:lnTo>
                <a:cubicBezTo>
                  <a:pt x="1784743" y="0"/>
                  <a:pt x="1825971" y="41228"/>
                  <a:pt x="1825971" y="92086"/>
                </a:cubicBezTo>
                <a:lnTo>
                  <a:pt x="1825971" y="460420"/>
                </a:lnTo>
                <a:cubicBezTo>
                  <a:pt x="1825971" y="511278"/>
                  <a:pt x="1784743" y="552506"/>
                  <a:pt x="1733885" y="552506"/>
                </a:cubicBezTo>
                <a:lnTo>
                  <a:pt x="92086" y="552506"/>
                </a:lnTo>
                <a:cubicBezTo>
                  <a:pt x="41228" y="552506"/>
                  <a:pt x="0" y="511278"/>
                  <a:pt x="0" y="460420"/>
                </a:cubicBezTo>
                <a:lnTo>
                  <a:pt x="0" y="359421"/>
                </a:lnTo>
                <a:lnTo>
                  <a:pt x="529928" y="359421"/>
                </a:lnTo>
                <a:lnTo>
                  <a:pt x="529928" y="442589"/>
                </a:lnTo>
                <a:lnTo>
                  <a:pt x="696264" y="276253"/>
                </a:lnTo>
                <a:lnTo>
                  <a:pt x="529928" y="109917"/>
                </a:lnTo>
                <a:lnTo>
                  <a:pt x="529928" y="193085"/>
                </a:lnTo>
                <a:lnTo>
                  <a:pt x="0" y="193085"/>
                </a:lnTo>
                <a:lnTo>
                  <a:pt x="0" y="92086"/>
                </a:lnTo>
                <a:cubicBezTo>
                  <a:pt x="0" y="41228"/>
                  <a:pt x="41228" y="0"/>
                  <a:pt x="9208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1" name="자유형: 도형 1096">
            <a:extLst>
              <a:ext uri="{FF2B5EF4-FFF2-40B4-BE49-F238E27FC236}">
                <a16:creationId xmlns:a16="http://schemas.microsoft.com/office/drawing/2014/main" id="{A0F3754C-7DA8-4A19-8DB7-01F47BAB0B4D}"/>
              </a:ext>
            </a:extLst>
          </p:cNvPr>
          <p:cNvSpPr/>
          <p:nvPr/>
        </p:nvSpPr>
        <p:spPr>
          <a:xfrm>
            <a:off x="8092506" y="3531327"/>
            <a:ext cx="1825971" cy="419380"/>
          </a:xfrm>
          <a:custGeom>
            <a:avLst/>
            <a:gdLst>
              <a:gd name="connsiteX0" fmla="*/ 92086 w 1825971"/>
              <a:gd name="connsiteY0" fmla="*/ 0 h 552506"/>
              <a:gd name="connsiteX1" fmla="*/ 1733885 w 1825971"/>
              <a:gd name="connsiteY1" fmla="*/ 0 h 552506"/>
              <a:gd name="connsiteX2" fmla="*/ 1825971 w 1825971"/>
              <a:gd name="connsiteY2" fmla="*/ 92086 h 552506"/>
              <a:gd name="connsiteX3" fmla="*/ 1825971 w 1825971"/>
              <a:gd name="connsiteY3" fmla="*/ 460420 h 552506"/>
              <a:gd name="connsiteX4" fmla="*/ 1733885 w 1825971"/>
              <a:gd name="connsiteY4" fmla="*/ 552506 h 552506"/>
              <a:gd name="connsiteX5" fmla="*/ 92086 w 1825971"/>
              <a:gd name="connsiteY5" fmla="*/ 552506 h 552506"/>
              <a:gd name="connsiteX6" fmla="*/ 0 w 1825971"/>
              <a:gd name="connsiteY6" fmla="*/ 460420 h 552506"/>
              <a:gd name="connsiteX7" fmla="*/ 0 w 1825971"/>
              <a:gd name="connsiteY7" fmla="*/ 359421 h 552506"/>
              <a:gd name="connsiteX8" fmla="*/ 529928 w 1825971"/>
              <a:gd name="connsiteY8" fmla="*/ 359421 h 552506"/>
              <a:gd name="connsiteX9" fmla="*/ 529928 w 1825971"/>
              <a:gd name="connsiteY9" fmla="*/ 442589 h 552506"/>
              <a:gd name="connsiteX10" fmla="*/ 696264 w 1825971"/>
              <a:gd name="connsiteY10" fmla="*/ 276253 h 552506"/>
              <a:gd name="connsiteX11" fmla="*/ 529928 w 1825971"/>
              <a:gd name="connsiteY11" fmla="*/ 109917 h 552506"/>
              <a:gd name="connsiteX12" fmla="*/ 529928 w 1825971"/>
              <a:gd name="connsiteY12" fmla="*/ 193085 h 552506"/>
              <a:gd name="connsiteX13" fmla="*/ 0 w 1825971"/>
              <a:gd name="connsiteY13" fmla="*/ 193085 h 552506"/>
              <a:gd name="connsiteX14" fmla="*/ 0 w 1825971"/>
              <a:gd name="connsiteY14" fmla="*/ 92086 h 552506"/>
              <a:gd name="connsiteX15" fmla="*/ 92086 w 1825971"/>
              <a:gd name="connsiteY15" fmla="*/ 0 h 55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25971" h="552506">
                <a:moveTo>
                  <a:pt x="92086" y="0"/>
                </a:moveTo>
                <a:lnTo>
                  <a:pt x="1733885" y="0"/>
                </a:lnTo>
                <a:cubicBezTo>
                  <a:pt x="1784743" y="0"/>
                  <a:pt x="1825971" y="41228"/>
                  <a:pt x="1825971" y="92086"/>
                </a:cubicBezTo>
                <a:lnTo>
                  <a:pt x="1825971" y="460420"/>
                </a:lnTo>
                <a:cubicBezTo>
                  <a:pt x="1825971" y="511278"/>
                  <a:pt x="1784743" y="552506"/>
                  <a:pt x="1733885" y="552506"/>
                </a:cubicBezTo>
                <a:lnTo>
                  <a:pt x="92086" y="552506"/>
                </a:lnTo>
                <a:cubicBezTo>
                  <a:pt x="41228" y="552506"/>
                  <a:pt x="0" y="511278"/>
                  <a:pt x="0" y="460420"/>
                </a:cubicBezTo>
                <a:lnTo>
                  <a:pt x="0" y="359421"/>
                </a:lnTo>
                <a:lnTo>
                  <a:pt x="529928" y="359421"/>
                </a:lnTo>
                <a:lnTo>
                  <a:pt x="529928" y="442589"/>
                </a:lnTo>
                <a:lnTo>
                  <a:pt x="696264" y="276253"/>
                </a:lnTo>
                <a:lnTo>
                  <a:pt x="529928" y="109917"/>
                </a:lnTo>
                <a:lnTo>
                  <a:pt x="529928" y="193085"/>
                </a:lnTo>
                <a:lnTo>
                  <a:pt x="0" y="193085"/>
                </a:lnTo>
                <a:lnTo>
                  <a:pt x="0" y="92086"/>
                </a:lnTo>
                <a:cubicBezTo>
                  <a:pt x="0" y="41228"/>
                  <a:pt x="41228" y="0"/>
                  <a:pt x="92086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2" name="타원 1097">
            <a:extLst>
              <a:ext uri="{FF2B5EF4-FFF2-40B4-BE49-F238E27FC236}">
                <a16:creationId xmlns:a16="http://schemas.microsoft.com/office/drawing/2014/main" id="{C0E3A857-3101-4A91-BC9D-C4FD3FDD0FCD}"/>
              </a:ext>
            </a:extLst>
          </p:cNvPr>
          <p:cNvSpPr/>
          <p:nvPr/>
        </p:nvSpPr>
        <p:spPr>
          <a:xfrm>
            <a:off x="2000049" y="2173242"/>
            <a:ext cx="1018130" cy="103518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3" name="타원 1098">
            <a:extLst>
              <a:ext uri="{FF2B5EF4-FFF2-40B4-BE49-F238E27FC236}">
                <a16:creationId xmlns:a16="http://schemas.microsoft.com/office/drawing/2014/main" id="{F5552810-4D77-4537-A238-262A9276DC2A}"/>
              </a:ext>
            </a:extLst>
          </p:cNvPr>
          <p:cNvSpPr/>
          <p:nvPr/>
        </p:nvSpPr>
        <p:spPr>
          <a:xfrm>
            <a:off x="4224401" y="4146408"/>
            <a:ext cx="1160128" cy="119391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5" name="타원 1100">
            <a:extLst>
              <a:ext uri="{FF2B5EF4-FFF2-40B4-BE49-F238E27FC236}">
                <a16:creationId xmlns:a16="http://schemas.microsoft.com/office/drawing/2014/main" id="{DA160DB2-2F3F-4472-8287-8C15B01E5782}"/>
              </a:ext>
            </a:extLst>
          </p:cNvPr>
          <p:cNvSpPr/>
          <p:nvPr/>
        </p:nvSpPr>
        <p:spPr>
          <a:xfrm>
            <a:off x="6199198" y="1970570"/>
            <a:ext cx="1227369" cy="11714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sp>
        <p:nvSpPr>
          <p:cNvPr id="17" name="Rounded Rectangle 7">
            <a:extLst>
              <a:ext uri="{FF2B5EF4-FFF2-40B4-BE49-F238E27FC236}">
                <a16:creationId xmlns:a16="http://schemas.microsoft.com/office/drawing/2014/main" id="{310D32CE-9DCF-4869-A902-27EB0AA06E44}"/>
              </a:ext>
            </a:extLst>
          </p:cNvPr>
          <p:cNvSpPr/>
          <p:nvPr/>
        </p:nvSpPr>
        <p:spPr>
          <a:xfrm>
            <a:off x="8107364" y="5922848"/>
            <a:ext cx="352176" cy="303924"/>
          </a:xfrm>
          <a:custGeom>
            <a:avLst/>
            <a:gdLst/>
            <a:ahLst/>
            <a:cxnLst/>
            <a:rect l="l" t="t" r="r" b="b"/>
            <a:pathLst>
              <a:path w="3240006" h="2796091">
                <a:moveTo>
                  <a:pt x="686867" y="612319"/>
                </a:moveTo>
                <a:cubicBezTo>
                  <a:pt x="611281" y="612319"/>
                  <a:pt x="550007" y="673593"/>
                  <a:pt x="550007" y="749179"/>
                </a:cubicBezTo>
                <a:cubicBezTo>
                  <a:pt x="550007" y="824765"/>
                  <a:pt x="611281" y="886039"/>
                  <a:pt x="686867" y="886039"/>
                </a:cubicBezTo>
                <a:cubicBezTo>
                  <a:pt x="762453" y="886039"/>
                  <a:pt x="823727" y="824765"/>
                  <a:pt x="823727" y="749179"/>
                </a:cubicBezTo>
                <a:cubicBezTo>
                  <a:pt x="823727" y="673593"/>
                  <a:pt x="762453" y="612319"/>
                  <a:pt x="686867" y="612319"/>
                </a:cubicBezTo>
                <a:close/>
                <a:moveTo>
                  <a:pt x="1587500" y="281447"/>
                </a:moveTo>
                <a:cubicBezTo>
                  <a:pt x="1432061" y="281447"/>
                  <a:pt x="1306053" y="407455"/>
                  <a:pt x="1306053" y="562894"/>
                </a:cubicBezTo>
                <a:cubicBezTo>
                  <a:pt x="1306053" y="718333"/>
                  <a:pt x="1432061" y="844341"/>
                  <a:pt x="1587500" y="844341"/>
                </a:cubicBezTo>
                <a:cubicBezTo>
                  <a:pt x="1742939" y="844341"/>
                  <a:pt x="1868947" y="718333"/>
                  <a:pt x="1868947" y="562894"/>
                </a:cubicBezTo>
                <a:cubicBezTo>
                  <a:pt x="1868947" y="407455"/>
                  <a:pt x="1742939" y="281447"/>
                  <a:pt x="1587500" y="281447"/>
                </a:cubicBezTo>
                <a:close/>
                <a:moveTo>
                  <a:pt x="1587500" y="0"/>
                </a:moveTo>
                <a:cubicBezTo>
                  <a:pt x="1898378" y="0"/>
                  <a:pt x="2150394" y="252016"/>
                  <a:pt x="2150394" y="562894"/>
                </a:cubicBezTo>
                <a:cubicBezTo>
                  <a:pt x="2150394" y="786167"/>
                  <a:pt x="2020401" y="979078"/>
                  <a:pt x="1831095" y="1068260"/>
                </a:cubicBezTo>
                <a:lnTo>
                  <a:pt x="2215710" y="1068260"/>
                </a:lnTo>
                <a:cubicBezTo>
                  <a:pt x="2374756" y="1068260"/>
                  <a:pt x="2503688" y="1197192"/>
                  <a:pt x="2503688" y="1356238"/>
                </a:cubicBezTo>
                <a:lnTo>
                  <a:pt x="2503688" y="1474975"/>
                </a:lnTo>
                <a:lnTo>
                  <a:pt x="2656086" y="1474975"/>
                </a:lnTo>
                <a:cubicBezTo>
                  <a:pt x="2692420" y="1474975"/>
                  <a:pt x="2722815" y="1500405"/>
                  <a:pt x="2728975" y="1534767"/>
                </a:cubicBezTo>
                <a:lnTo>
                  <a:pt x="3240006" y="1109804"/>
                </a:lnTo>
                <a:lnTo>
                  <a:pt x="3240006" y="2754548"/>
                </a:lnTo>
                <a:lnTo>
                  <a:pt x="2728975" y="2329585"/>
                </a:lnTo>
                <a:cubicBezTo>
                  <a:pt x="2722815" y="2363946"/>
                  <a:pt x="2692420" y="2389375"/>
                  <a:pt x="2656086" y="2389375"/>
                </a:cubicBezTo>
                <a:lnTo>
                  <a:pt x="2503688" y="2389375"/>
                </a:lnTo>
                <a:lnTo>
                  <a:pt x="2503688" y="2508113"/>
                </a:lnTo>
                <a:cubicBezTo>
                  <a:pt x="2503688" y="2667159"/>
                  <a:pt x="2374756" y="2796091"/>
                  <a:pt x="2215710" y="2796091"/>
                </a:cubicBezTo>
                <a:lnTo>
                  <a:pt x="287978" y="2796091"/>
                </a:lnTo>
                <a:cubicBezTo>
                  <a:pt x="128932" y="2796091"/>
                  <a:pt x="0" y="2667159"/>
                  <a:pt x="0" y="2508113"/>
                </a:cubicBezTo>
                <a:lnTo>
                  <a:pt x="0" y="1356238"/>
                </a:lnTo>
                <a:cubicBezTo>
                  <a:pt x="0" y="1197192"/>
                  <a:pt x="128932" y="1068260"/>
                  <a:pt x="287978" y="1068260"/>
                </a:cubicBezTo>
                <a:lnTo>
                  <a:pt x="544513" y="1068260"/>
                </a:lnTo>
                <a:cubicBezTo>
                  <a:pt x="422089" y="1014226"/>
                  <a:pt x="336949" y="891645"/>
                  <a:pt x="336949" y="749179"/>
                </a:cubicBezTo>
                <a:cubicBezTo>
                  <a:pt x="336949" y="555925"/>
                  <a:pt x="493613" y="399261"/>
                  <a:pt x="686867" y="399261"/>
                </a:cubicBezTo>
                <a:cubicBezTo>
                  <a:pt x="880121" y="399261"/>
                  <a:pt x="1036785" y="555925"/>
                  <a:pt x="1036785" y="749179"/>
                </a:cubicBezTo>
                <a:cubicBezTo>
                  <a:pt x="1036785" y="891645"/>
                  <a:pt x="951645" y="1014226"/>
                  <a:pt x="829222" y="1068260"/>
                </a:cubicBezTo>
                <a:lnTo>
                  <a:pt x="1343906" y="1068260"/>
                </a:lnTo>
                <a:cubicBezTo>
                  <a:pt x="1154600" y="979078"/>
                  <a:pt x="1024606" y="786167"/>
                  <a:pt x="1024606" y="562894"/>
                </a:cubicBezTo>
                <a:cubicBezTo>
                  <a:pt x="1024606" y="252016"/>
                  <a:pt x="1276622" y="0"/>
                  <a:pt x="15875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>
              <a:solidFill>
                <a:schemeClr val="tx2"/>
              </a:solidFill>
            </a:endParaRPr>
          </a:p>
        </p:txBody>
      </p:sp>
      <p:sp>
        <p:nvSpPr>
          <p:cNvPr id="20" name="Teardrop 1">
            <a:extLst>
              <a:ext uri="{FF2B5EF4-FFF2-40B4-BE49-F238E27FC236}">
                <a16:creationId xmlns:a16="http://schemas.microsoft.com/office/drawing/2014/main" id="{CD0A26AF-AF15-47D3-BDF8-9A6D2D53D958}"/>
              </a:ext>
            </a:extLst>
          </p:cNvPr>
          <p:cNvSpPr/>
          <p:nvPr/>
        </p:nvSpPr>
        <p:spPr>
          <a:xfrm rot="18805991">
            <a:off x="8807120" y="2639737"/>
            <a:ext cx="376862" cy="372930"/>
          </a:xfrm>
          <a:custGeom>
            <a:avLst/>
            <a:gdLst/>
            <a:ahLst/>
            <a:cxnLst/>
            <a:rect l="l" t="t" r="r" b="b"/>
            <a:pathLst>
              <a:path w="1807241" h="1788383">
                <a:moveTo>
                  <a:pt x="712876" y="1117592"/>
                </a:moveTo>
                <a:cubicBezTo>
                  <a:pt x="771173" y="1181828"/>
                  <a:pt x="811089" y="1255910"/>
                  <a:pt x="847925" y="1348018"/>
                </a:cubicBezTo>
                <a:cubicBezTo>
                  <a:pt x="814544" y="1418896"/>
                  <a:pt x="753893" y="1474052"/>
                  <a:pt x="679064" y="1498332"/>
                </a:cubicBezTo>
                <a:lnTo>
                  <a:pt x="308226" y="1106637"/>
                </a:lnTo>
                <a:cubicBezTo>
                  <a:pt x="336560" y="1033247"/>
                  <a:pt x="394949" y="975701"/>
                  <a:pt x="467546" y="946245"/>
                </a:cubicBezTo>
                <a:cubicBezTo>
                  <a:pt x="577903" y="998968"/>
                  <a:pt x="654580" y="1053357"/>
                  <a:pt x="712876" y="1117592"/>
                </a:cubicBezTo>
                <a:close/>
                <a:moveTo>
                  <a:pt x="1038527" y="398886"/>
                </a:moveTo>
                <a:lnTo>
                  <a:pt x="1405560" y="786562"/>
                </a:lnTo>
                <a:cubicBezTo>
                  <a:pt x="1374476" y="799049"/>
                  <a:pt x="1340402" y="804299"/>
                  <a:pt x="1305054" y="803332"/>
                </a:cubicBezTo>
                <a:lnTo>
                  <a:pt x="1008167" y="795212"/>
                </a:lnTo>
                <a:lnTo>
                  <a:pt x="1016288" y="498325"/>
                </a:lnTo>
                <a:cubicBezTo>
                  <a:pt x="1017255" y="462976"/>
                  <a:pt x="1024360" y="429240"/>
                  <a:pt x="1038527" y="398886"/>
                </a:cubicBezTo>
                <a:close/>
                <a:moveTo>
                  <a:pt x="1097925" y="218888"/>
                </a:moveTo>
                <a:cubicBezTo>
                  <a:pt x="992582" y="279303"/>
                  <a:pt x="921871" y="392886"/>
                  <a:pt x="921053" y="523256"/>
                </a:cubicBezTo>
                <a:lnTo>
                  <a:pt x="919136" y="828763"/>
                </a:lnTo>
                <a:lnTo>
                  <a:pt x="830924" y="915875"/>
                </a:lnTo>
                <a:lnTo>
                  <a:pt x="525417" y="913958"/>
                </a:lnTo>
                <a:cubicBezTo>
                  <a:pt x="403891" y="913196"/>
                  <a:pt x="296188" y="973343"/>
                  <a:pt x="234366" y="1067831"/>
                </a:cubicBezTo>
                <a:lnTo>
                  <a:pt x="710285" y="1570519"/>
                </a:lnTo>
                <a:cubicBezTo>
                  <a:pt x="811872" y="1510375"/>
                  <a:pt x="878808" y="1399439"/>
                  <a:pt x="879603" y="1272618"/>
                </a:cubicBezTo>
                <a:lnTo>
                  <a:pt x="881520" y="967111"/>
                </a:lnTo>
                <a:lnTo>
                  <a:pt x="969732" y="879999"/>
                </a:lnTo>
                <a:lnTo>
                  <a:pt x="1275239" y="881916"/>
                </a:lnTo>
                <a:cubicBezTo>
                  <a:pt x="1400271" y="882701"/>
                  <a:pt x="1510670" y="819011"/>
                  <a:pt x="1573529" y="721242"/>
                </a:cubicBezTo>
                <a:close/>
                <a:moveTo>
                  <a:pt x="1162945" y="27894"/>
                </a:moveTo>
                <a:lnTo>
                  <a:pt x="1782798" y="682611"/>
                </a:lnTo>
                <a:cubicBezTo>
                  <a:pt x="1816692" y="718411"/>
                  <a:pt x="1815147" y="774907"/>
                  <a:pt x="1779347" y="808801"/>
                </a:cubicBezTo>
                <a:cubicBezTo>
                  <a:pt x="1743547" y="842694"/>
                  <a:pt x="1687050" y="841149"/>
                  <a:pt x="1653157" y="805349"/>
                </a:cubicBezTo>
                <a:lnTo>
                  <a:pt x="1644015" y="795693"/>
                </a:lnTo>
                <a:cubicBezTo>
                  <a:pt x="1561789" y="910282"/>
                  <a:pt x="1426630" y="983636"/>
                  <a:pt x="1274606" y="982683"/>
                </a:cubicBezTo>
                <a:lnTo>
                  <a:pt x="980378" y="980836"/>
                </a:lnTo>
                <a:lnTo>
                  <a:pt x="980378" y="1270380"/>
                </a:lnTo>
                <a:cubicBezTo>
                  <a:pt x="980378" y="1427425"/>
                  <a:pt x="901198" y="1565976"/>
                  <a:pt x="779756" y="1647056"/>
                </a:cubicBezTo>
                <a:cubicBezTo>
                  <a:pt x="807405" y="1681913"/>
                  <a:pt x="803595" y="1732594"/>
                  <a:pt x="770486" y="1763941"/>
                </a:cubicBezTo>
                <a:cubicBezTo>
                  <a:pt x="734686" y="1797834"/>
                  <a:pt x="678189" y="1796289"/>
                  <a:pt x="644296" y="1760489"/>
                </a:cubicBezTo>
                <a:lnTo>
                  <a:pt x="24442" y="1105772"/>
                </a:lnTo>
                <a:cubicBezTo>
                  <a:pt x="-9451" y="1069973"/>
                  <a:pt x="-7906" y="1013476"/>
                  <a:pt x="27894" y="979583"/>
                </a:cubicBezTo>
                <a:cubicBezTo>
                  <a:pt x="63694" y="945689"/>
                  <a:pt x="120190" y="947235"/>
                  <a:pt x="154084" y="983034"/>
                </a:cubicBezTo>
                <a:lnTo>
                  <a:pt x="163237" y="992702"/>
                </a:lnTo>
                <a:cubicBezTo>
                  <a:pt x="244774" y="882877"/>
                  <a:pt x="375836" y="813180"/>
                  <a:pt x="523178" y="813180"/>
                </a:cubicBezTo>
                <a:lnTo>
                  <a:pt x="818460" y="813180"/>
                </a:lnTo>
                <a:lnTo>
                  <a:pt x="820284" y="522622"/>
                </a:lnTo>
                <a:cubicBezTo>
                  <a:pt x="821285" y="363119"/>
                  <a:pt x="903845" y="223207"/>
                  <a:pt x="1028952" y="143673"/>
                </a:cubicBezTo>
                <a:cubicBezTo>
                  <a:pt x="999689" y="108599"/>
                  <a:pt x="1002953" y="56445"/>
                  <a:pt x="1036755" y="24443"/>
                </a:cubicBezTo>
                <a:cubicBezTo>
                  <a:pt x="1072555" y="-9451"/>
                  <a:pt x="1129052" y="-7906"/>
                  <a:pt x="1162945" y="278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1108">
            <a:extLst>
              <a:ext uri="{FF2B5EF4-FFF2-40B4-BE49-F238E27FC236}">
                <a16:creationId xmlns:a16="http://schemas.microsoft.com/office/drawing/2014/main" id="{8FC3F243-DE99-4D1D-A9A0-0E68D9930690}"/>
              </a:ext>
            </a:extLst>
          </p:cNvPr>
          <p:cNvSpPr txBox="1"/>
          <p:nvPr/>
        </p:nvSpPr>
        <p:spPr>
          <a:xfrm>
            <a:off x="6585135" y="3511449"/>
            <a:ext cx="11448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400" b="1">
                <a:solidFill>
                  <a:schemeClr val="bg1"/>
                </a:solidFill>
                <a:cs typeface="Arial" pitchFamily="34" charset="0"/>
              </a:rPr>
              <a:t>WEEK</a:t>
            </a:r>
            <a:endParaRPr lang="ko-KR" altLang="en-US" sz="24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4" name="TextBox 1109">
            <a:extLst>
              <a:ext uri="{FF2B5EF4-FFF2-40B4-BE49-F238E27FC236}">
                <a16:creationId xmlns:a16="http://schemas.microsoft.com/office/drawing/2014/main" id="{572E39A9-AA87-41BD-8A9C-46F886464B07}"/>
              </a:ext>
            </a:extLst>
          </p:cNvPr>
          <p:cNvSpPr txBox="1"/>
          <p:nvPr/>
        </p:nvSpPr>
        <p:spPr>
          <a:xfrm>
            <a:off x="8780767" y="3511449"/>
            <a:ext cx="11448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400" b="1">
                <a:solidFill>
                  <a:schemeClr val="bg1"/>
                </a:solidFill>
                <a:cs typeface="Arial" pitchFamily="34" charset="0"/>
              </a:rPr>
              <a:t>WEEK</a:t>
            </a:r>
            <a:endParaRPr lang="ko-KR" altLang="en-US" sz="24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TextBox 1110">
            <a:extLst>
              <a:ext uri="{FF2B5EF4-FFF2-40B4-BE49-F238E27FC236}">
                <a16:creationId xmlns:a16="http://schemas.microsoft.com/office/drawing/2014/main" id="{B666232B-119C-4CB9-BA55-115D67EFEE6B}"/>
              </a:ext>
            </a:extLst>
          </p:cNvPr>
          <p:cNvSpPr txBox="1"/>
          <p:nvPr/>
        </p:nvSpPr>
        <p:spPr>
          <a:xfrm>
            <a:off x="4418698" y="3546965"/>
            <a:ext cx="1144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000" b="1">
                <a:solidFill>
                  <a:schemeClr val="bg1"/>
                </a:solidFill>
                <a:cs typeface="Arial" pitchFamily="34" charset="0"/>
              </a:rPr>
              <a:t>WEEK</a:t>
            </a:r>
            <a:endParaRPr lang="ko-KR" altLang="en-US" sz="20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TextBox 1111">
            <a:extLst>
              <a:ext uri="{FF2B5EF4-FFF2-40B4-BE49-F238E27FC236}">
                <a16:creationId xmlns:a16="http://schemas.microsoft.com/office/drawing/2014/main" id="{4316AB26-BB30-4C24-B0DE-A84C93D47460}"/>
              </a:ext>
            </a:extLst>
          </p:cNvPr>
          <p:cNvSpPr txBox="1"/>
          <p:nvPr/>
        </p:nvSpPr>
        <p:spPr>
          <a:xfrm>
            <a:off x="2199223" y="3556578"/>
            <a:ext cx="1144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b="1">
                <a:solidFill>
                  <a:schemeClr val="bg1"/>
                </a:solidFill>
                <a:cs typeface="Arial" pitchFamily="34" charset="0"/>
              </a:rPr>
              <a:t>WEEK</a:t>
            </a:r>
            <a:endParaRPr lang="ko-KR" altLang="en-US" sz="1600" b="1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7" name="그룹 1112">
            <a:extLst>
              <a:ext uri="{FF2B5EF4-FFF2-40B4-BE49-F238E27FC236}">
                <a16:creationId xmlns:a16="http://schemas.microsoft.com/office/drawing/2014/main" id="{721C1374-EFA6-4281-B692-86508644181E}"/>
              </a:ext>
            </a:extLst>
          </p:cNvPr>
          <p:cNvGrpSpPr/>
          <p:nvPr/>
        </p:nvGrpSpPr>
        <p:grpSpPr>
          <a:xfrm>
            <a:off x="1666410" y="4258718"/>
            <a:ext cx="1685408" cy="1472856"/>
            <a:chOff x="2297066" y="3255173"/>
            <a:chExt cx="1685408" cy="1472856"/>
          </a:xfrm>
        </p:grpSpPr>
        <p:sp>
          <p:nvSpPr>
            <p:cNvPr id="40" name="TextBox 1113">
              <a:extLst>
                <a:ext uri="{FF2B5EF4-FFF2-40B4-BE49-F238E27FC236}">
                  <a16:creationId xmlns:a16="http://schemas.microsoft.com/office/drawing/2014/main" id="{EBD57C22-7C95-4EE8-A42F-064A7CCB3DD7}"/>
                </a:ext>
              </a:extLst>
            </p:cNvPr>
            <p:cNvSpPr txBox="1"/>
            <p:nvPr/>
          </p:nvSpPr>
          <p:spPr>
            <a:xfrm flipH="1">
              <a:off x="2297066" y="4438719"/>
              <a:ext cx="1664463" cy="28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1600" b="1">
                  <a:solidFill>
                    <a:schemeClr val="accent5"/>
                  </a:solidFill>
                  <a:cs typeface="Arial" pitchFamily="34" charset="0"/>
                </a:rPr>
                <a:t>TRAINING</a:t>
              </a:r>
            </a:p>
          </p:txBody>
        </p:sp>
        <p:sp>
          <p:nvSpPr>
            <p:cNvPr id="41" name="TextBox 1114">
              <a:extLst>
                <a:ext uri="{FF2B5EF4-FFF2-40B4-BE49-F238E27FC236}">
                  <a16:creationId xmlns:a16="http://schemas.microsoft.com/office/drawing/2014/main" id="{9039DEB5-47EA-4D41-B1B8-CBCADD1AB2CD}"/>
                </a:ext>
              </a:extLst>
            </p:cNvPr>
            <p:cNvSpPr txBox="1"/>
            <p:nvPr/>
          </p:nvSpPr>
          <p:spPr>
            <a:xfrm flipH="1">
              <a:off x="2318011" y="3255173"/>
              <a:ext cx="166446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Learnt python and its libraries</a:t>
              </a:r>
            </a:p>
            <a:p>
              <a:pPr algn="ctr"/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Learnt Machine learning models </a:t>
              </a:r>
              <a:endParaRPr lang="ko-KR" altLang="en-US" sz="1200">
                <a:cs typeface="Arial" pitchFamily="34" charset="0"/>
              </a:endParaRPr>
            </a:p>
          </p:txBody>
        </p:sp>
      </p:grpSp>
      <p:grpSp>
        <p:nvGrpSpPr>
          <p:cNvPr id="29" name="그룹 1118">
            <a:extLst>
              <a:ext uri="{FF2B5EF4-FFF2-40B4-BE49-F238E27FC236}">
                <a16:creationId xmlns:a16="http://schemas.microsoft.com/office/drawing/2014/main" id="{20AFB8AD-41AB-4F72-BFFA-943497F9624B}"/>
              </a:ext>
            </a:extLst>
          </p:cNvPr>
          <p:cNvGrpSpPr/>
          <p:nvPr/>
        </p:nvGrpSpPr>
        <p:grpSpPr>
          <a:xfrm>
            <a:off x="8092506" y="1772291"/>
            <a:ext cx="1714910" cy="1554382"/>
            <a:chOff x="275233" y="684048"/>
            <a:chExt cx="1714910" cy="1554382"/>
          </a:xfrm>
        </p:grpSpPr>
        <p:sp>
          <p:nvSpPr>
            <p:cNvPr id="36" name="TextBox 1119">
              <a:extLst>
                <a:ext uri="{FF2B5EF4-FFF2-40B4-BE49-F238E27FC236}">
                  <a16:creationId xmlns:a16="http://schemas.microsoft.com/office/drawing/2014/main" id="{A7F1F882-F3EF-40DE-9C91-5D06CBE9891A}"/>
                </a:ext>
              </a:extLst>
            </p:cNvPr>
            <p:cNvSpPr txBox="1"/>
            <p:nvPr/>
          </p:nvSpPr>
          <p:spPr>
            <a:xfrm flipH="1">
              <a:off x="275233" y="684048"/>
              <a:ext cx="166446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2000" b="1">
                  <a:solidFill>
                    <a:schemeClr val="accent1"/>
                  </a:solidFill>
                  <a:cs typeface="Arial" pitchFamily="34" charset="0"/>
                </a:rPr>
                <a:t>Modeling</a:t>
              </a:r>
            </a:p>
          </p:txBody>
        </p:sp>
        <p:sp>
          <p:nvSpPr>
            <p:cNvPr id="37" name="TextBox 1120">
              <a:extLst>
                <a:ext uri="{FF2B5EF4-FFF2-40B4-BE49-F238E27FC236}">
                  <a16:creationId xmlns:a16="http://schemas.microsoft.com/office/drawing/2014/main" id="{45B05BBF-5B62-48A5-B1E7-2C5CD352F4A7}"/>
                </a:ext>
              </a:extLst>
            </p:cNvPr>
            <p:cNvSpPr txBox="1"/>
            <p:nvPr/>
          </p:nvSpPr>
          <p:spPr>
            <a:xfrm flipH="1">
              <a:off x="325680" y="1038101"/>
              <a:ext cx="166446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You can simply impress your audience and add a unique zing and appeal to your Presentations. </a:t>
              </a:r>
              <a:endParaRPr lang="ko-KR" altLang="en-US" sz="1200">
                <a:cs typeface="Arial" pitchFamily="34" charset="0"/>
              </a:endParaRPr>
            </a:p>
          </p:txBody>
        </p:sp>
      </p:grpSp>
      <p:grpSp>
        <p:nvGrpSpPr>
          <p:cNvPr id="30" name="그룹 1121">
            <a:extLst>
              <a:ext uri="{FF2B5EF4-FFF2-40B4-BE49-F238E27FC236}">
                <a16:creationId xmlns:a16="http://schemas.microsoft.com/office/drawing/2014/main" id="{5B9F874C-6992-458A-980F-5F0A45D73A90}"/>
              </a:ext>
            </a:extLst>
          </p:cNvPr>
          <p:cNvGrpSpPr/>
          <p:nvPr/>
        </p:nvGrpSpPr>
        <p:grpSpPr>
          <a:xfrm>
            <a:off x="3899083" y="1897562"/>
            <a:ext cx="1664463" cy="1310868"/>
            <a:chOff x="2318011" y="3255173"/>
            <a:chExt cx="1664463" cy="1310868"/>
          </a:xfrm>
        </p:grpSpPr>
        <p:sp>
          <p:nvSpPr>
            <p:cNvPr id="34" name="TextBox 1122">
              <a:extLst>
                <a:ext uri="{FF2B5EF4-FFF2-40B4-BE49-F238E27FC236}">
                  <a16:creationId xmlns:a16="http://schemas.microsoft.com/office/drawing/2014/main" id="{5D182659-FDF7-41FD-B149-533D7DB360BE}"/>
                </a:ext>
              </a:extLst>
            </p:cNvPr>
            <p:cNvSpPr txBox="1"/>
            <p:nvPr/>
          </p:nvSpPr>
          <p:spPr>
            <a:xfrm flipH="1">
              <a:off x="2318011" y="3255173"/>
              <a:ext cx="1664463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1600">
                  <a:solidFill>
                    <a:schemeClr val="accent4"/>
                  </a:solidFill>
                  <a:cs typeface="Arial" pitchFamily="34" charset="0"/>
                </a:rPr>
                <a:t>DATA CLEANING</a:t>
              </a:r>
            </a:p>
          </p:txBody>
        </p:sp>
        <p:sp>
          <p:nvSpPr>
            <p:cNvPr id="35" name="TextBox 1123">
              <a:extLst>
                <a:ext uri="{FF2B5EF4-FFF2-40B4-BE49-F238E27FC236}">
                  <a16:creationId xmlns:a16="http://schemas.microsoft.com/office/drawing/2014/main" id="{C112C6A3-3942-4FD9-B5BD-2779D282F221}"/>
                </a:ext>
              </a:extLst>
            </p:cNvPr>
            <p:cNvSpPr txBox="1"/>
            <p:nvPr/>
          </p:nvSpPr>
          <p:spPr>
            <a:xfrm flipH="1">
              <a:off x="2318011" y="3735044"/>
              <a:ext cx="166446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eaned raw data and performed Exploratory Data Analysis </a:t>
              </a:r>
              <a:endParaRPr lang="ko-KR" altLang="en-US" sz="1200">
                <a:cs typeface="Arial" pitchFamily="34" charset="0"/>
              </a:endParaRPr>
            </a:p>
          </p:txBody>
        </p:sp>
      </p:grpSp>
      <p:grpSp>
        <p:nvGrpSpPr>
          <p:cNvPr id="31" name="그룹 1124">
            <a:extLst>
              <a:ext uri="{FF2B5EF4-FFF2-40B4-BE49-F238E27FC236}">
                <a16:creationId xmlns:a16="http://schemas.microsoft.com/office/drawing/2014/main" id="{918ED9FC-0F13-4C6B-A211-D2D1129E58B8}"/>
              </a:ext>
            </a:extLst>
          </p:cNvPr>
          <p:cNvGrpSpPr/>
          <p:nvPr/>
        </p:nvGrpSpPr>
        <p:grpSpPr>
          <a:xfrm>
            <a:off x="5889595" y="3950707"/>
            <a:ext cx="1784313" cy="2791114"/>
            <a:chOff x="2318011" y="1225625"/>
            <a:chExt cx="1784313" cy="2791114"/>
          </a:xfrm>
        </p:grpSpPr>
        <p:sp>
          <p:nvSpPr>
            <p:cNvPr id="32" name="TextBox 1125">
              <a:extLst>
                <a:ext uri="{FF2B5EF4-FFF2-40B4-BE49-F238E27FC236}">
                  <a16:creationId xmlns:a16="http://schemas.microsoft.com/office/drawing/2014/main" id="{1FCBB695-57B2-4355-A35C-DDA8E2E65C68}"/>
                </a:ext>
              </a:extLst>
            </p:cNvPr>
            <p:cNvSpPr txBox="1"/>
            <p:nvPr/>
          </p:nvSpPr>
          <p:spPr>
            <a:xfrm flipH="1">
              <a:off x="2437861" y="1225625"/>
              <a:ext cx="1664463" cy="11018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1400" b="1">
                  <a:solidFill>
                    <a:schemeClr val="accent2"/>
                  </a:solidFill>
                  <a:cs typeface="Arial" pitchFamily="34" charset="0"/>
                </a:rPr>
                <a:t> </a:t>
              </a:r>
            </a:p>
            <a:p>
              <a:pPr algn="ctr">
                <a:lnSpc>
                  <a:spcPct val="80000"/>
                </a:lnSpc>
              </a:pPr>
              <a:r>
                <a:rPr lang="en-US" altLang="ko-KR" sz="1600" b="1">
                  <a:solidFill>
                    <a:schemeClr val="accent2"/>
                  </a:solidFill>
                  <a:cs typeface="Arial" pitchFamily="34" charset="0"/>
                </a:rPr>
                <a:t>FEATURE</a:t>
              </a:r>
            </a:p>
            <a:p>
              <a:pPr algn="ctr">
                <a:lnSpc>
                  <a:spcPct val="80000"/>
                </a:lnSpc>
              </a:pPr>
              <a:r>
                <a:rPr lang="en-US" altLang="ko-KR" sz="1600" b="1">
                  <a:solidFill>
                    <a:schemeClr val="accent2"/>
                  </a:solidFill>
                  <a:cs typeface="Arial" pitchFamily="34" charset="0"/>
                </a:rPr>
                <a:t>ENGINEERING</a:t>
              </a:r>
            </a:p>
            <a:p>
              <a:pPr algn="ctr">
                <a:lnSpc>
                  <a:spcPct val="80000"/>
                </a:lnSpc>
              </a:pPr>
              <a:endParaRPr lang="en-US" altLang="ko-KR" sz="2000" b="1">
                <a:solidFill>
                  <a:schemeClr val="accent2"/>
                </a:solidFill>
                <a:cs typeface="Arial" pitchFamily="34" charset="0"/>
              </a:endParaRPr>
            </a:p>
            <a:p>
              <a:pPr algn="ctr">
                <a:lnSpc>
                  <a:spcPct val="80000"/>
                </a:lnSpc>
              </a:pPr>
              <a:endParaRPr lang="en-US" altLang="ko-KR" sz="1600">
                <a:solidFill>
                  <a:schemeClr val="accent2"/>
                </a:solidFill>
                <a:cs typeface="Arial" pitchFamily="34" charset="0"/>
              </a:endParaRPr>
            </a:p>
          </p:txBody>
        </p:sp>
        <p:sp>
          <p:nvSpPr>
            <p:cNvPr id="33" name="TextBox 1126">
              <a:extLst>
                <a:ext uri="{FF2B5EF4-FFF2-40B4-BE49-F238E27FC236}">
                  <a16:creationId xmlns:a16="http://schemas.microsoft.com/office/drawing/2014/main" id="{108DFEE6-834F-4589-A5B9-0E278154A2BF}"/>
                </a:ext>
              </a:extLst>
            </p:cNvPr>
            <p:cNvSpPr txBox="1"/>
            <p:nvPr/>
          </p:nvSpPr>
          <p:spPr>
            <a:xfrm flipH="1">
              <a:off x="2318011" y="3739740"/>
              <a:ext cx="1664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</a:t>
              </a:r>
              <a:endParaRPr lang="ko-KR" altLang="en-US" sz="1200">
                <a:cs typeface="Arial" pitchFamily="34" charset="0"/>
              </a:endParaRPr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7ED9124E-CF18-33C4-2A7B-C9F66A5249A8}"/>
              </a:ext>
            </a:extLst>
          </p:cNvPr>
          <p:cNvSpPr/>
          <p:nvPr/>
        </p:nvSpPr>
        <p:spPr>
          <a:xfrm>
            <a:off x="8402762" y="4176325"/>
            <a:ext cx="1144848" cy="107660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Picture 41" descr="A blue circle with a white brain and a chip&#10;&#10;Description automatically generated">
            <a:extLst>
              <a:ext uri="{FF2B5EF4-FFF2-40B4-BE49-F238E27FC236}">
                <a16:creationId xmlns:a16="http://schemas.microsoft.com/office/drawing/2014/main" id="{5A84A458-5036-F092-ED94-F6E91FDCF0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5003" y="4272919"/>
            <a:ext cx="880361" cy="880361"/>
          </a:xfrm>
          <a:prstGeom prst="rect">
            <a:avLst/>
          </a:prstGeom>
        </p:spPr>
      </p:pic>
      <p:pic>
        <p:nvPicPr>
          <p:cNvPr id="45" name="Picture 44" descr="A green circle with white gears&#10;&#10;Description automatically generated">
            <a:extLst>
              <a:ext uri="{FF2B5EF4-FFF2-40B4-BE49-F238E27FC236}">
                <a16:creationId xmlns:a16="http://schemas.microsoft.com/office/drawing/2014/main" id="{1FFD6EB3-35B4-DCBE-1844-8F72A6DA54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7107" y="2048733"/>
            <a:ext cx="971550" cy="971550"/>
          </a:xfrm>
          <a:prstGeom prst="rect">
            <a:avLst/>
          </a:prstGeom>
        </p:spPr>
      </p:pic>
      <p:pic>
        <p:nvPicPr>
          <p:cNvPr id="50" name="Picture 49" descr="A person pointing at a board&#10;&#10;Description automatically generated">
            <a:extLst>
              <a:ext uri="{FF2B5EF4-FFF2-40B4-BE49-F238E27FC236}">
                <a16:creationId xmlns:a16="http://schemas.microsoft.com/office/drawing/2014/main" id="{3D566660-28BE-9FED-4373-2749DE79AD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5118" y="2317007"/>
            <a:ext cx="767992" cy="767992"/>
          </a:xfrm>
          <a:prstGeom prst="rect">
            <a:avLst/>
          </a:prstGeom>
        </p:spPr>
      </p:pic>
      <p:sp>
        <p:nvSpPr>
          <p:cNvPr id="14" name="타원 1099">
            <a:extLst>
              <a:ext uri="{FF2B5EF4-FFF2-40B4-BE49-F238E27FC236}">
                <a16:creationId xmlns:a16="http://schemas.microsoft.com/office/drawing/2014/main" id="{CC21A2C9-15F3-4109-B9C4-9CFB2BBB7338}"/>
              </a:ext>
            </a:extLst>
          </p:cNvPr>
          <p:cNvSpPr/>
          <p:nvPr/>
        </p:nvSpPr>
        <p:spPr>
          <a:xfrm>
            <a:off x="4321487" y="4239067"/>
            <a:ext cx="975800" cy="10002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pic>
        <p:nvPicPr>
          <p:cNvPr id="52" name="Picture 51" descr="A black outline of a paper and a broom&#10;&#10;Description automatically generated">
            <a:extLst>
              <a:ext uri="{FF2B5EF4-FFF2-40B4-BE49-F238E27FC236}">
                <a16:creationId xmlns:a16="http://schemas.microsoft.com/office/drawing/2014/main" id="{B0DE922E-3740-FCE3-0F84-1470E644C9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4364287" y="4318959"/>
            <a:ext cx="780625" cy="780625"/>
          </a:xfrm>
          <a:prstGeom prst="rect">
            <a:avLst/>
          </a:prstGeom>
        </p:spPr>
      </p:pic>
      <p:sp>
        <p:nvSpPr>
          <p:cNvPr id="54" name="TextBox 1120">
            <a:extLst>
              <a:ext uri="{FF2B5EF4-FFF2-40B4-BE49-F238E27FC236}">
                <a16:creationId xmlns:a16="http://schemas.microsoft.com/office/drawing/2014/main" id="{5DD332D7-EAFF-12B6-9CE4-202D6E34EE85}"/>
              </a:ext>
            </a:extLst>
          </p:cNvPr>
          <p:cNvSpPr txBox="1"/>
          <p:nvPr/>
        </p:nvSpPr>
        <p:spPr>
          <a:xfrm flipH="1">
            <a:off x="6088470" y="4624704"/>
            <a:ext cx="16644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cluded features like</a:t>
            </a:r>
          </a:p>
          <a:p>
            <a:pPr algn="ctr"/>
            <a:r>
              <a:rPr lang="en-US" altLang="ko-KR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Length of stay, air pollution index, SDOH themes ,</a:t>
            </a:r>
            <a:r>
              <a:rPr lang="en-US" altLang="ko-KR" sz="1200" err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tc</a:t>
            </a:r>
            <a:r>
              <a:rPr lang="en-US" altLang="ko-KR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into the model for prediction</a:t>
            </a:r>
          </a:p>
          <a:p>
            <a:pPr algn="ctr"/>
            <a:endParaRPr lang="en-US" altLang="ko-KR" sz="12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ctr"/>
            <a:r>
              <a:rPr lang="en-US" altLang="ko-KR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. </a:t>
            </a:r>
            <a:endParaRPr lang="ko-KR" altLang="en-US" sz="120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07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diagram of a person's idea&#10;&#10;Description automatically generated">
            <a:extLst>
              <a:ext uri="{FF2B5EF4-FFF2-40B4-BE49-F238E27FC236}">
                <a16:creationId xmlns:a16="http://schemas.microsoft.com/office/drawing/2014/main" id="{3782AB82-C436-01F3-A0CB-E0C02DC4DB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4646" y="2143455"/>
            <a:ext cx="7317387" cy="4232279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F84DCA-5FB4-BCE1-6A86-7757B66650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3CE3B-3609-F009-9722-8C09713FF7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BE41A6-A0C1-9510-C79D-851D964FC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376" y="455756"/>
            <a:ext cx="11263311" cy="876299"/>
          </a:xfrm>
        </p:spPr>
        <p:txBody>
          <a:bodyPr/>
          <a:lstStyle/>
          <a:p>
            <a:r>
              <a:rPr lang="en-US"/>
              <a:t>Timeline of our learn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2DD5AA7-2BF8-FF7A-AB3F-8ACF061FCC20}"/>
              </a:ext>
            </a:extLst>
          </p:cNvPr>
          <p:cNvSpPr/>
          <p:nvPr/>
        </p:nvSpPr>
        <p:spPr>
          <a:xfrm>
            <a:off x="7219787" y="4070317"/>
            <a:ext cx="1820849" cy="10336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CHINE </a:t>
            </a:r>
          </a:p>
          <a:p>
            <a:pPr algn="ctr"/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C75C4FF-53EE-1585-E0F2-5B61B5CE4643}"/>
              </a:ext>
            </a:extLst>
          </p:cNvPr>
          <p:cNvSpPr/>
          <p:nvPr/>
        </p:nvSpPr>
        <p:spPr>
          <a:xfrm>
            <a:off x="6464019" y="2249146"/>
            <a:ext cx="2083241" cy="1102335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</a:t>
            </a:r>
          </a:p>
          <a:p>
            <a:pPr algn="ctr"/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YSI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6EC8C42-F555-DFA8-9BF4-EA4001775D96}"/>
              </a:ext>
            </a:extLst>
          </p:cNvPr>
          <p:cNvSpPr/>
          <p:nvPr/>
        </p:nvSpPr>
        <p:spPr>
          <a:xfrm>
            <a:off x="3071840" y="2258002"/>
            <a:ext cx="2083241" cy="110233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</a:t>
            </a:r>
          </a:p>
          <a:p>
            <a:pPr algn="ctr"/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-PROCESSING</a:t>
            </a:r>
          </a:p>
          <a:p>
            <a:pPr algn="ctr"/>
            <a:endParaRPr lang="en-US" sz="20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43B768F-CA21-44E6-5B33-63CB47012096}"/>
              </a:ext>
            </a:extLst>
          </p:cNvPr>
          <p:cNvSpPr/>
          <p:nvPr/>
        </p:nvSpPr>
        <p:spPr>
          <a:xfrm>
            <a:off x="2476514" y="4048830"/>
            <a:ext cx="1820849" cy="1033670"/>
          </a:xfrm>
          <a:prstGeom prst="roundRect">
            <a:avLst/>
          </a:prstGeom>
          <a:solidFill>
            <a:srgbClr val="00B0F0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YTHON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4DB88F71-28E2-EED6-229A-80E30FEC8998}"/>
              </a:ext>
            </a:extLst>
          </p:cNvPr>
          <p:cNvGraphicFramePr/>
          <p:nvPr/>
        </p:nvGraphicFramePr>
        <p:xfrm>
          <a:off x="1544893" y="1673419"/>
          <a:ext cx="8712290" cy="432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7592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E534EA-FF2B-5BCF-2298-417F8D873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376" y="1459787"/>
            <a:ext cx="11263312" cy="4670426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68735A-835D-9C7B-BAA6-C55079026D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ABCCF0-F63F-CE20-666A-6652F7EC6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255893"/>
            <a:ext cx="11263311" cy="876299"/>
          </a:xfrm>
        </p:spPr>
        <p:txBody>
          <a:bodyPr/>
          <a:lstStyle/>
          <a:p>
            <a:r>
              <a:rPr lang="en-US" b="1"/>
              <a:t>Journey of our Internship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4F15EC81-0858-4089-3269-9766C8419097}"/>
              </a:ext>
            </a:extLst>
          </p:cNvPr>
          <p:cNvSpPr/>
          <p:nvPr/>
        </p:nvSpPr>
        <p:spPr>
          <a:xfrm>
            <a:off x="847824" y="2512307"/>
            <a:ext cx="2658281" cy="896575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057CEC46-1CD8-74A2-D1CF-5FAA6095094A}"/>
              </a:ext>
            </a:extLst>
          </p:cNvPr>
          <p:cNvSpPr/>
          <p:nvPr/>
        </p:nvSpPr>
        <p:spPr>
          <a:xfrm rot="10800000">
            <a:off x="3516535" y="3418310"/>
            <a:ext cx="2577876" cy="923330"/>
          </a:xfrm>
          <a:prstGeom prst="round2SameRect">
            <a:avLst/>
          </a:prstGeom>
          <a:solidFill>
            <a:schemeClr val="accent2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98477625-E20C-C09E-278F-69BB19F5851C}"/>
              </a:ext>
            </a:extLst>
          </p:cNvPr>
          <p:cNvSpPr/>
          <p:nvPr/>
        </p:nvSpPr>
        <p:spPr>
          <a:xfrm>
            <a:off x="6104840" y="2494980"/>
            <a:ext cx="2768367" cy="923330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A7B67693-4BCA-6305-F4C5-A6C429AE4B74}"/>
              </a:ext>
            </a:extLst>
          </p:cNvPr>
          <p:cNvSpPr/>
          <p:nvPr/>
        </p:nvSpPr>
        <p:spPr>
          <a:xfrm rot="10800000">
            <a:off x="8873208" y="3418310"/>
            <a:ext cx="2480593" cy="923330"/>
          </a:xfrm>
          <a:prstGeom prst="round2SameRect">
            <a:avLst/>
          </a:prstGeom>
          <a:solidFill>
            <a:schemeClr val="accent2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F8451A-04CD-8FE3-7713-C9A23E49C34B}"/>
              </a:ext>
            </a:extLst>
          </p:cNvPr>
          <p:cNvSpPr txBox="1"/>
          <p:nvPr/>
        </p:nvSpPr>
        <p:spPr>
          <a:xfrm>
            <a:off x="3862166" y="3552786"/>
            <a:ext cx="1789334" cy="86177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ID" sz="1600" b="1">
                <a:solidFill>
                  <a:schemeClr val="bg1"/>
                </a:solidFill>
                <a:latin typeface="+mj-lt"/>
              </a:rPr>
              <a:t>PROBLEM</a:t>
            </a:r>
          </a:p>
          <a:p>
            <a:pPr algn="ctr"/>
            <a:r>
              <a:rPr lang="en-ID" sz="1600" b="1">
                <a:solidFill>
                  <a:schemeClr val="bg1"/>
                </a:solidFill>
                <a:latin typeface="+mj-lt"/>
              </a:rPr>
              <a:t>STATEMENT</a:t>
            </a:r>
          </a:p>
          <a:p>
            <a:pPr algn="ctr"/>
            <a:endParaRPr lang="en-ID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74095F2-0CF0-7199-0B6F-630C5E49655B}"/>
              </a:ext>
            </a:extLst>
          </p:cNvPr>
          <p:cNvSpPr txBox="1"/>
          <p:nvPr/>
        </p:nvSpPr>
        <p:spPr>
          <a:xfrm>
            <a:off x="9227010" y="3691284"/>
            <a:ext cx="1789334" cy="584775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ID" sz="1600" b="1">
                <a:solidFill>
                  <a:schemeClr val="bg1"/>
                </a:solidFill>
                <a:latin typeface="+mj-lt"/>
              </a:rPr>
              <a:t>MODELING</a:t>
            </a:r>
          </a:p>
          <a:p>
            <a:pPr algn="ctr"/>
            <a:endParaRPr lang="en-ID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1F41A7-2FC7-2C03-8677-65A7B978DDAB}"/>
              </a:ext>
            </a:extLst>
          </p:cNvPr>
          <p:cNvSpPr txBox="1"/>
          <p:nvPr/>
        </p:nvSpPr>
        <p:spPr>
          <a:xfrm>
            <a:off x="1221541" y="2778938"/>
            <a:ext cx="1789334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ID" sz="1600" b="1">
                <a:solidFill>
                  <a:schemeClr val="bg1"/>
                </a:solidFill>
                <a:latin typeface="+mj-lt"/>
              </a:rPr>
              <a:t>TRAINING</a:t>
            </a:r>
          </a:p>
          <a:p>
            <a:pPr algn="ctr"/>
            <a:endParaRPr lang="en-ID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56D92D-76E5-D45A-DEF8-038C89528E58}"/>
              </a:ext>
            </a:extLst>
          </p:cNvPr>
          <p:cNvSpPr txBox="1"/>
          <p:nvPr/>
        </p:nvSpPr>
        <p:spPr>
          <a:xfrm>
            <a:off x="6594356" y="2787366"/>
            <a:ext cx="1789334" cy="338554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ID" sz="1600" b="1">
                <a:solidFill>
                  <a:schemeClr val="bg1"/>
                </a:solidFill>
                <a:latin typeface="+mj-lt"/>
              </a:rPr>
              <a:t>ED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A9F74C-5D9D-670D-EC51-985D593527F7}"/>
              </a:ext>
            </a:extLst>
          </p:cNvPr>
          <p:cNvSpPr/>
          <p:nvPr/>
        </p:nvSpPr>
        <p:spPr>
          <a:xfrm>
            <a:off x="1025512" y="3583209"/>
            <a:ext cx="2480593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/>
              <a:t>Basic Pyth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/>
              <a:t>Python Librari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/>
              <a:t>Machine Learn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5DC394-127A-F6AE-0C44-EEB780AF08B1}"/>
              </a:ext>
            </a:extLst>
          </p:cNvPr>
          <p:cNvSpPr/>
          <p:nvPr/>
        </p:nvSpPr>
        <p:spPr>
          <a:xfrm>
            <a:off x="9021094" y="2710423"/>
            <a:ext cx="2480594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Model Train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Model Evalu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587130D-F408-02A4-FDC2-35A069810C0B}"/>
              </a:ext>
            </a:extLst>
          </p:cNvPr>
          <p:cNvSpPr/>
          <p:nvPr/>
        </p:nvSpPr>
        <p:spPr>
          <a:xfrm>
            <a:off x="3664423" y="2519916"/>
            <a:ext cx="2480594" cy="101566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Problem Analysi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Research &amp; Brainstorm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1023B2F-2A4C-13E7-1738-EBA5D845D058}"/>
              </a:ext>
            </a:extLst>
          </p:cNvPr>
          <p:cNvSpPr/>
          <p:nvPr/>
        </p:nvSpPr>
        <p:spPr>
          <a:xfrm>
            <a:off x="6392613" y="3583209"/>
            <a:ext cx="2480594" cy="101566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Data Clean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Data Analysis &amp; Visualiza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graphicFrame>
        <p:nvGraphicFramePr>
          <p:cNvPr id="33" name="Diagram 32">
            <a:extLst>
              <a:ext uri="{FF2B5EF4-FFF2-40B4-BE49-F238E27FC236}">
                <a16:creationId xmlns:a16="http://schemas.microsoft.com/office/drawing/2014/main" id="{E695C035-AC45-2788-C42A-048E284FBE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493480"/>
              </p:ext>
            </p:extLst>
          </p:nvPr>
        </p:nvGraphicFramePr>
        <p:xfrm>
          <a:off x="847824" y="4522282"/>
          <a:ext cx="10505977" cy="2373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925715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D2AD1-8961-D523-49B9-86D4AEEA45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1610A4-CF58-15A3-8277-B14BA5A36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303060"/>
            <a:ext cx="11263311" cy="876299"/>
          </a:xfrm>
        </p:spPr>
        <p:txBody>
          <a:bodyPr/>
          <a:lstStyle/>
          <a:p>
            <a:r>
              <a:rPr lang="en-US" b="1"/>
              <a:t>Learning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7D9AA59B-5A16-6128-246A-26A2BB98E4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4665466"/>
              </p:ext>
            </p:extLst>
          </p:nvPr>
        </p:nvGraphicFramePr>
        <p:xfrm>
          <a:off x="461962" y="2015613"/>
          <a:ext cx="10343535" cy="33720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96EDA30-93F1-275A-9B19-F19C07288BBF}"/>
              </a:ext>
            </a:extLst>
          </p:cNvPr>
          <p:cNvSpPr txBox="1"/>
          <p:nvPr/>
        </p:nvSpPr>
        <p:spPr>
          <a:xfrm>
            <a:off x="2461052" y="2303779"/>
            <a:ext cx="2782529" cy="15928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800" b="0" i="0">
                <a:latin typeface="+mn-lt"/>
              </a:rPr>
              <a:t>Python</a:t>
            </a: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/>
              <a:t>Data Analysis</a:t>
            </a:r>
            <a:endParaRPr lang="en-US">
              <a:cs typeface="Arial"/>
            </a:endParaRP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>
                <a:cs typeface="Arial"/>
              </a:rPr>
              <a:t>Data Visualization</a:t>
            </a:r>
            <a:endParaRPr lang="en-US"/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800" b="0" i="0">
                <a:latin typeface="+mn-lt"/>
              </a:rPr>
              <a:t>Machine Learning</a:t>
            </a:r>
            <a:endParaRPr lang="en-US" sz="1800" b="0" i="0">
              <a:latin typeface="+mn-lt"/>
              <a:cs typeface="Arial"/>
            </a:endParaRP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>
              <a:cs typeface="Arial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08DD98-0603-00B8-53A8-6948CD1250DB}"/>
              </a:ext>
            </a:extLst>
          </p:cNvPr>
          <p:cNvSpPr txBox="1"/>
          <p:nvPr/>
        </p:nvSpPr>
        <p:spPr>
          <a:xfrm>
            <a:off x="6854500" y="2303779"/>
            <a:ext cx="2340077" cy="180307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>
                <a:cs typeface="Arial"/>
              </a:rPr>
              <a:t>Effective Communication</a:t>
            </a:r>
            <a:endParaRPr lang="en-US"/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>
                <a:cs typeface="Arial"/>
              </a:rPr>
              <a:t>Team-work</a:t>
            </a: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ime Management</a:t>
            </a:r>
            <a:endParaRPr lang="en-US" sz="1800" b="0" i="0">
              <a:solidFill>
                <a:srgbClr val="000000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marL="285750" indent="-285750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r>
              <a:rPr lang="en-IN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ask prioritization</a:t>
            </a:r>
            <a:endParaRPr lang="en-US" sz="1800" b="0" i="0">
              <a:latin typeface="+mn-lt"/>
              <a:cs typeface="Arial"/>
            </a:endParaRPr>
          </a:p>
          <a:p>
            <a:pPr marL="285750" indent="-285750" algn="l">
              <a:lnSpc>
                <a:spcPts val="2100"/>
              </a:lnSpc>
              <a:spcAft>
                <a:spcPts val="900"/>
              </a:spcAft>
              <a:buFont typeface="Arial"/>
              <a:buChar char="•"/>
            </a:pPr>
            <a:endParaRPr lang="en-US">
              <a:cs typeface="Arial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endParaRPr lang="en-US" sz="1800" b="0" i="0">
              <a:latin typeface="+mn-lt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/>
            </a:endParaRPr>
          </a:p>
          <a:p>
            <a:pPr>
              <a:lnSpc>
                <a:spcPts val="2100"/>
              </a:lnSpc>
              <a:spcAft>
                <a:spcPts val="900"/>
              </a:spcAft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515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D7ABD0-FFBC-BEBA-0DE3-F93E2E032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56" y="188640"/>
            <a:ext cx="11263311" cy="602747"/>
          </a:xfrm>
        </p:spPr>
        <p:txBody>
          <a:bodyPr>
            <a:normAutofit/>
          </a:bodyPr>
          <a:lstStyle/>
          <a:p>
            <a:r>
              <a:rPr lang="en-US" b="1"/>
              <a:t>Causal Explan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7615AA-36FA-DF9E-37EA-C85C36C04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31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53EDD1-193E-9B78-FA53-78AE482D8420}"/>
              </a:ext>
            </a:extLst>
          </p:cNvPr>
          <p:cNvSpPr txBox="1"/>
          <p:nvPr/>
        </p:nvSpPr>
        <p:spPr>
          <a:xfrm>
            <a:off x="341302" y="898840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b="1">
                <a:solidFill>
                  <a:srgbClr val="FF0000"/>
                </a:solidFill>
                <a:cs typeface="Arial"/>
              </a:rPr>
              <a:t>Admitted</a:t>
            </a:r>
            <a:endParaRPr lang="en-US" sz="1800" b="1" i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27A660-FD3E-FAE5-CB85-19AB7ED82680}"/>
              </a:ext>
            </a:extLst>
          </p:cNvPr>
          <p:cNvSpPr txBox="1"/>
          <p:nvPr/>
        </p:nvSpPr>
        <p:spPr>
          <a:xfrm>
            <a:off x="273656" y="3604912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100"/>
              </a:lnSpc>
              <a:spcAft>
                <a:spcPts val="900"/>
              </a:spcAft>
            </a:pPr>
            <a:r>
              <a:rPr lang="en-US" b="1">
                <a:solidFill>
                  <a:schemeClr val="accent2"/>
                </a:solidFill>
                <a:cs typeface="Arial"/>
              </a:rPr>
              <a:t>Not-Admitted</a:t>
            </a:r>
            <a:endParaRPr lang="en-US" sz="1800" b="1" i="0">
              <a:solidFill>
                <a:schemeClr val="accent2"/>
              </a:solidFill>
              <a:latin typeface="+mn-lt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29FBC60E-2242-5584-6789-9E009A8C361C}"/>
              </a:ext>
            </a:extLst>
          </p:cNvPr>
          <p:cNvGraphicFramePr>
            <a:graphicFrameLocks noGrp="1"/>
          </p:cNvGraphicFramePr>
          <p:nvPr/>
        </p:nvGraphicFramePr>
        <p:xfrm>
          <a:off x="1999480" y="1392266"/>
          <a:ext cx="2603413" cy="1104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7841">
                  <a:extLst>
                    <a:ext uri="{9D8B030D-6E8A-4147-A177-3AD203B41FA5}">
                      <a16:colId xmlns:a16="http://schemas.microsoft.com/office/drawing/2014/main" val="3661843031"/>
                    </a:ext>
                  </a:extLst>
                </a:gridCol>
                <a:gridCol w="1515572">
                  <a:extLst>
                    <a:ext uri="{9D8B030D-6E8A-4147-A177-3AD203B41FA5}">
                      <a16:colId xmlns:a16="http://schemas.microsoft.com/office/drawing/2014/main" val="1449752823"/>
                    </a:ext>
                  </a:extLst>
                </a:gridCol>
              </a:tblGrid>
              <a:tr h="303812">
                <a:tc>
                  <a:txBody>
                    <a:bodyPr/>
                    <a:lstStyle/>
                    <a:p>
                      <a:r>
                        <a:rPr lang="en-US" sz="140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b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901860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0.025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599266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0.974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792609"/>
                  </a:ext>
                </a:extLst>
              </a:tr>
            </a:tbl>
          </a:graphicData>
        </a:graphic>
      </p:graphicFrame>
      <p:pic>
        <p:nvPicPr>
          <p:cNvPr id="2" name="Picture 5" descr="image">
            <a:extLst>
              <a:ext uri="{FF2B5EF4-FFF2-40B4-BE49-F238E27FC236}">
                <a16:creationId xmlns:a16="http://schemas.microsoft.com/office/drawing/2014/main" id="{358D5B13-1BB9-2567-74EA-4B43838CA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8501" y="969463"/>
            <a:ext cx="4751677" cy="2390177"/>
          </a:xfrm>
          <a:prstGeom prst="rect">
            <a:avLst/>
          </a:prstGeom>
        </p:spPr>
      </p:pic>
      <p:pic>
        <p:nvPicPr>
          <p:cNvPr id="6" name="Picture 6" descr="image">
            <a:extLst>
              <a:ext uri="{FF2B5EF4-FFF2-40B4-BE49-F238E27FC236}">
                <a16:creationId xmlns:a16="http://schemas.microsoft.com/office/drawing/2014/main" id="{28E45702-3E37-A2F5-AF05-390E8751A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740" y="3733082"/>
            <a:ext cx="4718534" cy="2326038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4984B79-A3E0-C8B7-FE4A-DC3110B360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0149263"/>
              </p:ext>
            </p:extLst>
          </p:nvPr>
        </p:nvGraphicFramePr>
        <p:xfrm>
          <a:off x="4780646" y="3930639"/>
          <a:ext cx="2129230" cy="1810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ACCE8555-74B7-43A2-E8A4-BB2A147366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000012"/>
              </p:ext>
            </p:extLst>
          </p:nvPr>
        </p:nvGraphicFramePr>
        <p:xfrm>
          <a:off x="4780646" y="1128441"/>
          <a:ext cx="2298580" cy="1955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030" name="Picture 6">
            <a:extLst>
              <a:ext uri="{FF2B5EF4-FFF2-40B4-BE49-F238E27FC236}">
                <a16:creationId xmlns:a16="http://schemas.microsoft.com/office/drawing/2014/main" id="{60B18B1D-1B6E-06C9-8D38-5D386CB14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86" y="1206071"/>
            <a:ext cx="1460229" cy="139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Table 5">
            <a:extLst>
              <a:ext uri="{FF2B5EF4-FFF2-40B4-BE49-F238E27FC236}">
                <a16:creationId xmlns:a16="http://schemas.microsoft.com/office/drawing/2014/main" id="{A9C7946C-6035-E350-FEFF-63B98EBAD4A0}"/>
              </a:ext>
            </a:extLst>
          </p:cNvPr>
          <p:cNvGraphicFramePr>
            <a:graphicFrameLocks noGrp="1"/>
          </p:cNvGraphicFramePr>
          <p:nvPr/>
        </p:nvGraphicFramePr>
        <p:xfrm>
          <a:off x="1999479" y="4164135"/>
          <a:ext cx="2603413" cy="1104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7841">
                  <a:extLst>
                    <a:ext uri="{9D8B030D-6E8A-4147-A177-3AD203B41FA5}">
                      <a16:colId xmlns:a16="http://schemas.microsoft.com/office/drawing/2014/main" val="3661843031"/>
                    </a:ext>
                  </a:extLst>
                </a:gridCol>
                <a:gridCol w="1515572">
                  <a:extLst>
                    <a:ext uri="{9D8B030D-6E8A-4147-A177-3AD203B41FA5}">
                      <a16:colId xmlns:a16="http://schemas.microsoft.com/office/drawing/2014/main" val="1449752823"/>
                    </a:ext>
                  </a:extLst>
                </a:gridCol>
              </a:tblGrid>
              <a:tr h="303812">
                <a:tc>
                  <a:txBody>
                    <a:bodyPr/>
                    <a:lstStyle/>
                    <a:p>
                      <a:r>
                        <a:rPr lang="en-US" sz="140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b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901860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0.99887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599266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0.00112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792609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6F2C7CF3-7AA3-2DBA-ACBE-22ACC5A12363}"/>
              </a:ext>
            </a:extLst>
          </p:cNvPr>
          <p:cNvSpPr txBox="1"/>
          <p:nvPr/>
        </p:nvSpPr>
        <p:spPr>
          <a:xfrm>
            <a:off x="429792" y="2825782"/>
            <a:ext cx="6187736" cy="8546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Patient is suffering from </a:t>
            </a:r>
            <a:r>
              <a:rPr lang="en-US" sz="14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cancer</a:t>
            </a: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 and </a:t>
            </a:r>
            <a:r>
              <a:rPr lang="en-US" sz="14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hyperlipidemia</a:t>
            </a: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.</a:t>
            </a:r>
            <a:r>
              <a:rPr lang="en-US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Arial"/>
                <a:cs typeface="Arial"/>
              </a:rPr>
              <a:t>Average length of previous encounters was high.</a:t>
            </a:r>
            <a:endParaRPr lang="en-US" sz="1400" b="0" i="0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Has undergone a major colonoscopy procedure in recent past.</a:t>
            </a:r>
            <a:endParaRPr lang="en-US" sz="1400" b="0" i="0"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DAC978-68BF-E19F-99E4-64A0D67BE3FE}"/>
              </a:ext>
            </a:extLst>
          </p:cNvPr>
          <p:cNvSpPr txBox="1"/>
          <p:nvPr/>
        </p:nvSpPr>
        <p:spPr>
          <a:xfrm>
            <a:off x="429792" y="5582923"/>
            <a:ext cx="6187736" cy="8546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Patient is not suffering from any major disease.</a:t>
            </a:r>
            <a:r>
              <a:rPr lang="en-US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/>
              </a:rPr>
              <a:t>Patient was not admitted in the last 6 months.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Belongs to a locality with moderate air quality index.</a:t>
            </a:r>
            <a:endParaRPr lang="en-US" sz="1400" b="0" i="0"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869BDB-5EA3-D4C6-5881-37B2E1207DFD}"/>
              </a:ext>
            </a:extLst>
          </p:cNvPr>
          <p:cNvSpPr txBox="1"/>
          <p:nvPr/>
        </p:nvSpPr>
        <p:spPr>
          <a:xfrm>
            <a:off x="5498399" y="1129489"/>
            <a:ext cx="1081158" cy="358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400" b="1" i="0">
                <a:solidFill>
                  <a:schemeClr val="accent1"/>
                </a:solidFill>
                <a:latin typeface="+mn-lt"/>
              </a:rPr>
              <a:t>Prob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8EBA06-EB81-100E-9CF3-C17A6EDAA5D8}"/>
              </a:ext>
            </a:extLst>
          </p:cNvPr>
          <p:cNvSpPr txBox="1"/>
          <p:nvPr/>
        </p:nvSpPr>
        <p:spPr>
          <a:xfrm>
            <a:off x="5466885" y="3815777"/>
            <a:ext cx="1081158" cy="358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sz="1400" b="1" i="0">
                <a:solidFill>
                  <a:schemeClr val="accent1"/>
                </a:solidFill>
                <a:latin typeface="+mn-lt"/>
              </a:rPr>
              <a:t>Probability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092548F-3286-17AE-99D6-18DA291A7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8" y="4009591"/>
            <a:ext cx="1381727" cy="138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587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D7ABD0-FFBC-BEBA-0DE3-F93E2E032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56" y="188640"/>
            <a:ext cx="11263311" cy="602747"/>
          </a:xfrm>
        </p:spPr>
        <p:txBody>
          <a:bodyPr>
            <a:normAutofit/>
          </a:bodyPr>
          <a:lstStyle/>
          <a:p>
            <a:r>
              <a:rPr lang="en-US" b="1"/>
              <a:t>Causal Explan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7615AA-36FA-DF9E-37EA-C85C36C04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3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53EDD1-193E-9B78-FA53-78AE482D8420}"/>
              </a:ext>
            </a:extLst>
          </p:cNvPr>
          <p:cNvSpPr txBox="1"/>
          <p:nvPr/>
        </p:nvSpPr>
        <p:spPr>
          <a:xfrm>
            <a:off x="341302" y="898840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l">
              <a:lnSpc>
                <a:spcPts val="2100"/>
              </a:lnSpc>
              <a:spcAft>
                <a:spcPts val="900"/>
              </a:spcAft>
            </a:pPr>
            <a:r>
              <a:rPr lang="en-US" b="1" dirty="0">
                <a:cs typeface="Arial"/>
              </a:rPr>
              <a:t>Admitted</a:t>
            </a:r>
            <a:endParaRPr lang="en-US" sz="1800" b="1" i="0" dirty="0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27A660-FD3E-FAE5-CB85-19AB7ED82680}"/>
              </a:ext>
            </a:extLst>
          </p:cNvPr>
          <p:cNvSpPr txBox="1"/>
          <p:nvPr/>
        </p:nvSpPr>
        <p:spPr>
          <a:xfrm>
            <a:off x="7264391" y="843456"/>
            <a:ext cx="2603413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100"/>
              </a:lnSpc>
              <a:spcAft>
                <a:spcPts val="900"/>
              </a:spcAft>
            </a:pPr>
            <a:r>
              <a:rPr lang="en-US" b="1" dirty="0">
                <a:cs typeface="Arial"/>
              </a:rPr>
              <a:t>Not-Admitted</a:t>
            </a:r>
            <a:endParaRPr lang="en-US" sz="1800" b="1" i="0" dirty="0">
              <a:latin typeface="+mn-lt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29FBC60E-2242-5584-6789-9E009A8C36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573051"/>
              </p:ext>
            </p:extLst>
          </p:nvPr>
        </p:nvGraphicFramePr>
        <p:xfrm>
          <a:off x="672255" y="1470723"/>
          <a:ext cx="2603413" cy="1104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7841">
                  <a:extLst>
                    <a:ext uri="{9D8B030D-6E8A-4147-A177-3AD203B41FA5}">
                      <a16:colId xmlns:a16="http://schemas.microsoft.com/office/drawing/2014/main" val="3661843031"/>
                    </a:ext>
                  </a:extLst>
                </a:gridCol>
                <a:gridCol w="1515572">
                  <a:extLst>
                    <a:ext uri="{9D8B030D-6E8A-4147-A177-3AD203B41FA5}">
                      <a16:colId xmlns:a16="http://schemas.microsoft.com/office/drawing/2014/main" val="1449752823"/>
                    </a:ext>
                  </a:extLst>
                </a:gridCol>
              </a:tblGrid>
              <a:tr h="303812">
                <a:tc>
                  <a:txBody>
                    <a:bodyPr/>
                    <a:lstStyle/>
                    <a:p>
                      <a:r>
                        <a:rPr lang="en-US" sz="140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b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901860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0.025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599266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0.974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792609"/>
                  </a:ext>
                </a:extLst>
              </a:tr>
            </a:tbl>
          </a:graphicData>
        </a:graphic>
      </p:graphicFrame>
      <p:pic>
        <p:nvPicPr>
          <p:cNvPr id="2" name="Picture 5" descr="image">
            <a:extLst>
              <a:ext uri="{FF2B5EF4-FFF2-40B4-BE49-F238E27FC236}">
                <a16:creationId xmlns:a16="http://schemas.microsoft.com/office/drawing/2014/main" id="{358D5B13-1BB9-2567-74EA-4B43838CA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0068" y="3981939"/>
            <a:ext cx="4979609" cy="2390177"/>
          </a:xfrm>
          <a:prstGeom prst="rect">
            <a:avLst/>
          </a:prstGeom>
        </p:spPr>
      </p:pic>
      <p:pic>
        <p:nvPicPr>
          <p:cNvPr id="6" name="Picture 6" descr="image">
            <a:extLst>
              <a:ext uri="{FF2B5EF4-FFF2-40B4-BE49-F238E27FC236}">
                <a16:creationId xmlns:a16="http://schemas.microsoft.com/office/drawing/2014/main" id="{28E45702-3E37-A2F5-AF05-390E8751A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448" y="3981939"/>
            <a:ext cx="4979610" cy="2326038"/>
          </a:xfrm>
          <a:prstGeom prst="rect">
            <a:avLst/>
          </a:prstGeom>
        </p:spPr>
      </p:pic>
      <p:graphicFrame>
        <p:nvGraphicFramePr>
          <p:cNvPr id="22" name="Table 5">
            <a:extLst>
              <a:ext uri="{FF2B5EF4-FFF2-40B4-BE49-F238E27FC236}">
                <a16:creationId xmlns:a16="http://schemas.microsoft.com/office/drawing/2014/main" id="{A9C7946C-6035-E350-FEFF-63B98EBAD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581310"/>
              </p:ext>
            </p:extLst>
          </p:nvPr>
        </p:nvGraphicFramePr>
        <p:xfrm>
          <a:off x="7264390" y="1344480"/>
          <a:ext cx="2603413" cy="1104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7841">
                  <a:extLst>
                    <a:ext uri="{9D8B030D-6E8A-4147-A177-3AD203B41FA5}">
                      <a16:colId xmlns:a16="http://schemas.microsoft.com/office/drawing/2014/main" val="3661843031"/>
                    </a:ext>
                  </a:extLst>
                </a:gridCol>
                <a:gridCol w="1515572">
                  <a:extLst>
                    <a:ext uri="{9D8B030D-6E8A-4147-A177-3AD203B41FA5}">
                      <a16:colId xmlns:a16="http://schemas.microsoft.com/office/drawing/2014/main" val="1449752823"/>
                    </a:ext>
                  </a:extLst>
                </a:gridCol>
              </a:tblGrid>
              <a:tr h="303812">
                <a:tc>
                  <a:txBody>
                    <a:bodyPr/>
                    <a:lstStyle/>
                    <a:p>
                      <a:r>
                        <a:rPr lang="en-US" sz="140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b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901860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0.99887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599266"/>
                  </a:ext>
                </a:extLst>
              </a:tr>
              <a:tr h="399759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0.00112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792609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6F2C7CF3-7AA3-2DBA-ACBE-22ACC5A12363}"/>
              </a:ext>
            </a:extLst>
          </p:cNvPr>
          <p:cNvSpPr txBox="1"/>
          <p:nvPr/>
        </p:nvSpPr>
        <p:spPr>
          <a:xfrm>
            <a:off x="597554" y="3001694"/>
            <a:ext cx="6187736" cy="8546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Patient is suffering from </a:t>
            </a:r>
            <a:r>
              <a:rPr lang="en-US" sz="14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cancer</a:t>
            </a: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 and </a:t>
            </a:r>
            <a:r>
              <a:rPr lang="en-US" sz="1400" b="1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hyperlipidemia</a:t>
            </a: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.</a:t>
            </a:r>
            <a:r>
              <a:rPr lang="en-US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Arial"/>
                <a:cs typeface="Arial"/>
              </a:rPr>
              <a:t>Average length of previous encounters was high.</a:t>
            </a:r>
            <a:endParaRPr lang="en-US" sz="1400" b="0" i="0">
              <a:solidFill>
                <a:srgbClr val="000000"/>
              </a:solidFill>
              <a:effectLst/>
              <a:latin typeface="Arial"/>
              <a:cs typeface="Arial"/>
            </a:endParaRP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Has undergone a major colonoscopy procedure in recent past.</a:t>
            </a:r>
            <a:endParaRPr lang="en-US" sz="1400" b="0" i="0"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DAC978-68BF-E19F-99E4-64A0D67BE3FE}"/>
              </a:ext>
            </a:extLst>
          </p:cNvPr>
          <p:cNvSpPr txBox="1"/>
          <p:nvPr/>
        </p:nvSpPr>
        <p:spPr>
          <a:xfrm>
            <a:off x="7158000" y="2975362"/>
            <a:ext cx="6187736" cy="8546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Patient is not suffering from any major disease.</a:t>
            </a:r>
            <a:r>
              <a:rPr lang="en-US" sz="1400" b="0" i="0">
                <a:solidFill>
                  <a:srgbClr val="000000"/>
                </a:solidFill>
                <a:effectLst/>
                <a:latin typeface="Arial"/>
                <a:cs typeface="Arial"/>
              </a:rPr>
              <a:t>​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/>
              </a:rPr>
              <a:t>Patient was not admitted in the last 6 months.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Arial"/>
                <a:cs typeface="Arial"/>
              </a:rPr>
              <a:t>Belongs to a locality with moderate air quality index.</a:t>
            </a:r>
            <a:endParaRPr lang="en-US" sz="1400" b="0" i="0">
              <a:latin typeface="Arial"/>
              <a:cs typeface="Arial"/>
            </a:endParaRP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D823A371-3CD7-1B39-B294-268D4BD49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08899" y="4911673"/>
            <a:ext cx="1460229" cy="139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840DC31-4E33-BFF9-2DDD-23191A4F6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69647" y="4968649"/>
            <a:ext cx="1381727" cy="138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124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79A8675-A847-209E-C3C2-0A9D66E96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554957"/>
            <a:ext cx="10515600" cy="710009"/>
          </a:xfr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1"/>
              </a:buClr>
              <a:buSzPts val="4800"/>
              <a:buFont typeface="Arial"/>
            </a:pPr>
            <a:r>
              <a:rPr lang="en-IN" b="1">
                <a:solidFill>
                  <a:srgbClr val="063890"/>
                </a:solidFill>
                <a:cs typeface="Arial"/>
              </a:rPr>
              <a:t>Problem Statement</a:t>
            </a:r>
            <a:endParaRPr lang="en-IN" b="1">
              <a:solidFill>
                <a:srgbClr val="063890"/>
              </a:solidFill>
              <a:latin typeface="Garamond" panose="02020404030301010803" pitchFamily="18" charset="0"/>
              <a:cs typeface="Arial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FC38EE-9DFE-F9A2-8769-084F000F0C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 smtClean="0"/>
              <a:pPr lvl="8"/>
              <a:t>4</a:t>
            </a:fld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F44D0B1-9934-E76E-F48D-B0A45C524135}"/>
              </a:ext>
            </a:extLst>
          </p:cNvPr>
          <p:cNvSpPr/>
          <p:nvPr/>
        </p:nvSpPr>
        <p:spPr>
          <a:xfrm>
            <a:off x="639712" y="2599467"/>
            <a:ext cx="8249764" cy="1727436"/>
          </a:xfrm>
          <a:prstGeom prst="roundRect">
            <a:avLst/>
          </a:prstGeom>
          <a:solidFill>
            <a:schemeClr val="bg1"/>
          </a:solidFill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3741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</a:t>
            </a:r>
            <a:r>
              <a:rPr lang="en-US" b="0" i="0">
                <a:solidFill>
                  <a:srgbClr val="37415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propensity of patients being admitted to a hospital within the next six months.</a:t>
            </a: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b="0" i="0">
              <a:solidFill>
                <a:srgbClr val="37415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D53CB60-AA5E-5A15-BB6E-16EFB5647B53}"/>
              </a:ext>
            </a:extLst>
          </p:cNvPr>
          <p:cNvSpPr/>
          <p:nvPr/>
        </p:nvSpPr>
        <p:spPr>
          <a:xfrm>
            <a:off x="873731" y="2052386"/>
            <a:ext cx="3525056" cy="710009"/>
          </a:xfrm>
          <a:custGeom>
            <a:avLst/>
            <a:gdLst>
              <a:gd name="connsiteX0" fmla="*/ 0 w 2318319"/>
              <a:gd name="connsiteY0" fmla="*/ 92192 h 921919"/>
              <a:gd name="connsiteX1" fmla="*/ 92192 w 2318319"/>
              <a:gd name="connsiteY1" fmla="*/ 0 h 921919"/>
              <a:gd name="connsiteX2" fmla="*/ 2226127 w 2318319"/>
              <a:gd name="connsiteY2" fmla="*/ 0 h 921919"/>
              <a:gd name="connsiteX3" fmla="*/ 2318319 w 2318319"/>
              <a:gd name="connsiteY3" fmla="*/ 92192 h 921919"/>
              <a:gd name="connsiteX4" fmla="*/ 2318319 w 2318319"/>
              <a:gd name="connsiteY4" fmla="*/ 829727 h 921919"/>
              <a:gd name="connsiteX5" fmla="*/ 2226127 w 2318319"/>
              <a:gd name="connsiteY5" fmla="*/ 921919 h 921919"/>
              <a:gd name="connsiteX6" fmla="*/ 92192 w 2318319"/>
              <a:gd name="connsiteY6" fmla="*/ 921919 h 921919"/>
              <a:gd name="connsiteX7" fmla="*/ 0 w 2318319"/>
              <a:gd name="connsiteY7" fmla="*/ 829727 h 921919"/>
              <a:gd name="connsiteX8" fmla="*/ 0 w 2318319"/>
              <a:gd name="connsiteY8" fmla="*/ 92192 h 92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18319" h="921919">
                <a:moveTo>
                  <a:pt x="0" y="92192"/>
                </a:moveTo>
                <a:cubicBezTo>
                  <a:pt x="0" y="41276"/>
                  <a:pt x="41276" y="0"/>
                  <a:pt x="92192" y="0"/>
                </a:cubicBezTo>
                <a:lnTo>
                  <a:pt x="2226127" y="0"/>
                </a:lnTo>
                <a:cubicBezTo>
                  <a:pt x="2277043" y="0"/>
                  <a:pt x="2318319" y="41276"/>
                  <a:pt x="2318319" y="92192"/>
                </a:cubicBezTo>
                <a:lnTo>
                  <a:pt x="2318319" y="829727"/>
                </a:lnTo>
                <a:cubicBezTo>
                  <a:pt x="2318319" y="880643"/>
                  <a:pt x="2277043" y="921919"/>
                  <a:pt x="2226127" y="921919"/>
                </a:cubicBezTo>
                <a:lnTo>
                  <a:pt x="92192" y="921919"/>
                </a:lnTo>
                <a:cubicBezTo>
                  <a:pt x="41276" y="921919"/>
                  <a:pt x="0" y="880643"/>
                  <a:pt x="0" y="829727"/>
                </a:cubicBezTo>
                <a:lnTo>
                  <a:pt x="0" y="92192"/>
                </a:lnTo>
                <a:close/>
              </a:path>
            </a:pathLst>
          </a:cu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72" tIns="44782" rIns="53672" bIns="44782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</a:p>
        </p:txBody>
      </p:sp>
      <p:sp>
        <p:nvSpPr>
          <p:cNvPr id="11" name="AutoShape 10">
            <a:extLst>
              <a:ext uri="{FF2B5EF4-FFF2-40B4-BE49-F238E27FC236}">
                <a16:creationId xmlns:a16="http://schemas.microsoft.com/office/drawing/2014/main" id="{432799AB-06F3-408E-B986-C96B684C18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2013" y="3276600"/>
            <a:ext cx="3335152" cy="3335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D668016-91AF-F0DD-C810-4616CBE301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5152" y="278553"/>
            <a:ext cx="2410161" cy="6154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51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8A835B-690F-5534-6CDB-0A1C043E3C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9442" y="-2515835"/>
            <a:ext cx="14458951" cy="4670426"/>
          </a:xfrm>
        </p:spPr>
        <p:txBody>
          <a:bodyPr vert="horz" lIns="0" tIns="0" rIns="2560320" bIns="0" rtlCol="0" anchor="t">
            <a:noAutofit/>
          </a:bodyPr>
          <a:lstStyle/>
          <a:p>
            <a:pPr marL="228577" lvl="3" indent="0">
              <a:buNone/>
            </a:pPr>
            <a:endParaRPr lang="en-US" sz="2000" b="0">
              <a:highlight>
                <a:srgbClr val="C0C0C0"/>
              </a:highlight>
            </a:endParaRPr>
          </a:p>
          <a:p>
            <a:pPr lvl="1" algn="ctr"/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lvl="1"/>
            <a:endParaRPr lang="en-US">
              <a:solidFill>
                <a:srgbClr val="38892F"/>
              </a:solidFill>
              <a:ea typeface="+mn-lt"/>
              <a:cs typeface="+mn-lt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EA459F-F50C-1A5B-2B1D-D884FE0D8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001" y="271717"/>
            <a:ext cx="11263311" cy="876299"/>
          </a:xfrm>
        </p:spPr>
        <p:txBody>
          <a:bodyPr/>
          <a:lstStyle/>
          <a:p>
            <a:r>
              <a:rPr lang="en-US" b="1"/>
              <a:t>Methodology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8F947A7-E90F-1307-DBCA-35298513AD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7008870"/>
              </p:ext>
            </p:extLst>
          </p:nvPr>
        </p:nvGraphicFramePr>
        <p:xfrm>
          <a:off x="310001" y="1550981"/>
          <a:ext cx="11660326" cy="323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53362CBF-5730-C7DF-E9D6-0EC39F1D6DD2}"/>
              </a:ext>
            </a:extLst>
          </p:cNvPr>
          <p:cNvGrpSpPr/>
          <p:nvPr/>
        </p:nvGrpSpPr>
        <p:grpSpPr>
          <a:xfrm>
            <a:off x="1216334" y="2904013"/>
            <a:ext cx="10753993" cy="3381446"/>
            <a:chOff x="1115416" y="950393"/>
            <a:chExt cx="10753993" cy="3381446"/>
          </a:xfrm>
        </p:grpSpPr>
        <p:sp>
          <p:nvSpPr>
            <p:cNvPr id="1056" name="Rectangle 1055">
              <a:extLst>
                <a:ext uri="{FF2B5EF4-FFF2-40B4-BE49-F238E27FC236}">
                  <a16:creationId xmlns:a16="http://schemas.microsoft.com/office/drawing/2014/main" id="{6B58AEEC-D761-4A5B-8094-FF2D8CE7EA91}"/>
                </a:ext>
              </a:extLst>
            </p:cNvPr>
            <p:cNvSpPr/>
            <p:nvPr/>
          </p:nvSpPr>
          <p:spPr>
            <a:xfrm>
              <a:off x="1115416" y="1671762"/>
              <a:ext cx="2969603" cy="2558916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A8328A0-F3BB-C9D1-F9D9-6706C34DAEB5}"/>
                </a:ext>
              </a:extLst>
            </p:cNvPr>
            <p:cNvSpPr txBox="1"/>
            <p:nvPr/>
          </p:nvSpPr>
          <p:spPr>
            <a:xfrm>
              <a:off x="10573265" y="1550593"/>
              <a:ext cx="12961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>
                  <a:solidFill>
                    <a:schemeClr val="bg1"/>
                  </a:solidFill>
                  <a:cs typeface="Arial" pitchFamily="34" charset="0"/>
                </a:rPr>
                <a:t>Contents Title</a:t>
              </a:r>
              <a:endParaRPr lang="ko-KR" alt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Rounded Rectangle 27">
              <a:extLst>
                <a:ext uri="{FF2B5EF4-FFF2-40B4-BE49-F238E27FC236}">
                  <a16:creationId xmlns:a16="http://schemas.microsoft.com/office/drawing/2014/main" id="{8177824C-837E-4498-A0B5-B327BDF91B4F}"/>
                </a:ext>
              </a:extLst>
            </p:cNvPr>
            <p:cNvSpPr/>
            <p:nvPr/>
          </p:nvSpPr>
          <p:spPr>
            <a:xfrm>
              <a:off x="11036716" y="1151935"/>
              <a:ext cx="369242" cy="283628"/>
            </a:xfrm>
            <a:custGeom>
              <a:avLst/>
              <a:gdLst/>
              <a:ahLst/>
              <a:cxnLst/>
              <a:rect l="l" t="t" r="r" b="b"/>
              <a:pathLst>
                <a:path w="3186824" h="2447912">
                  <a:moveTo>
                    <a:pt x="1917737" y="1021643"/>
                  </a:moveTo>
                  <a:cubicBezTo>
                    <a:pt x="2188548" y="1021643"/>
                    <a:pt x="2408083" y="1241178"/>
                    <a:pt x="2408083" y="1511989"/>
                  </a:cubicBezTo>
                  <a:cubicBezTo>
                    <a:pt x="2408083" y="1782800"/>
                    <a:pt x="2188548" y="2002335"/>
                    <a:pt x="1917737" y="2002335"/>
                  </a:cubicBezTo>
                  <a:cubicBezTo>
                    <a:pt x="1646926" y="2002335"/>
                    <a:pt x="1427391" y="1782800"/>
                    <a:pt x="1427391" y="1511989"/>
                  </a:cubicBezTo>
                  <a:cubicBezTo>
                    <a:pt x="1427391" y="1241178"/>
                    <a:pt x="1646926" y="1021643"/>
                    <a:pt x="1917737" y="1021643"/>
                  </a:cubicBezTo>
                  <a:close/>
                  <a:moveTo>
                    <a:pt x="1917737" y="827913"/>
                  </a:moveTo>
                  <a:cubicBezTo>
                    <a:pt x="1539932" y="827913"/>
                    <a:pt x="1233661" y="1134184"/>
                    <a:pt x="1233661" y="1511989"/>
                  </a:cubicBezTo>
                  <a:cubicBezTo>
                    <a:pt x="1233661" y="1889794"/>
                    <a:pt x="1539932" y="2196065"/>
                    <a:pt x="1917737" y="2196065"/>
                  </a:cubicBezTo>
                  <a:cubicBezTo>
                    <a:pt x="2295542" y="2196065"/>
                    <a:pt x="2601813" y="1889794"/>
                    <a:pt x="2601813" y="1511989"/>
                  </a:cubicBezTo>
                  <a:cubicBezTo>
                    <a:pt x="2601813" y="1134184"/>
                    <a:pt x="2295542" y="827913"/>
                    <a:pt x="1917737" y="827913"/>
                  </a:cubicBezTo>
                  <a:close/>
                  <a:moveTo>
                    <a:pt x="1112286" y="675885"/>
                  </a:moveTo>
                  <a:lnTo>
                    <a:pt x="1112286" y="830188"/>
                  </a:lnTo>
                  <a:lnTo>
                    <a:pt x="1328310" y="830188"/>
                  </a:lnTo>
                  <a:lnTo>
                    <a:pt x="1328310" y="675885"/>
                  </a:lnTo>
                  <a:close/>
                  <a:moveTo>
                    <a:pt x="2586084" y="626422"/>
                  </a:moveTo>
                  <a:lnTo>
                    <a:pt x="2586084" y="830188"/>
                  </a:lnTo>
                  <a:lnTo>
                    <a:pt x="3001340" y="830188"/>
                  </a:lnTo>
                  <a:lnTo>
                    <a:pt x="3001340" y="626422"/>
                  </a:lnTo>
                  <a:close/>
                  <a:moveTo>
                    <a:pt x="1593701" y="108218"/>
                  </a:moveTo>
                  <a:lnTo>
                    <a:pt x="1593701" y="432905"/>
                  </a:lnTo>
                  <a:lnTo>
                    <a:pt x="2241773" y="432905"/>
                  </a:lnTo>
                  <a:lnTo>
                    <a:pt x="2241773" y="108218"/>
                  </a:lnTo>
                  <a:close/>
                  <a:moveTo>
                    <a:pt x="1452512" y="0"/>
                  </a:moveTo>
                  <a:lnTo>
                    <a:pt x="2382963" y="0"/>
                  </a:lnTo>
                  <a:cubicBezTo>
                    <a:pt x="2433311" y="0"/>
                    <a:pt x="2474127" y="40816"/>
                    <a:pt x="2474127" y="91164"/>
                  </a:cubicBezTo>
                  <a:lnTo>
                    <a:pt x="2474127" y="432905"/>
                  </a:lnTo>
                  <a:lnTo>
                    <a:pt x="2933014" y="432905"/>
                  </a:lnTo>
                  <a:cubicBezTo>
                    <a:pt x="3073189" y="432905"/>
                    <a:pt x="3186824" y="546540"/>
                    <a:pt x="3186824" y="686715"/>
                  </a:cubicBezTo>
                  <a:lnTo>
                    <a:pt x="3186824" y="2194102"/>
                  </a:lnTo>
                  <a:cubicBezTo>
                    <a:pt x="3186824" y="2334277"/>
                    <a:pt x="3073189" y="2447912"/>
                    <a:pt x="2933014" y="2447912"/>
                  </a:cubicBezTo>
                  <a:lnTo>
                    <a:pt x="253810" y="2447912"/>
                  </a:lnTo>
                  <a:cubicBezTo>
                    <a:pt x="113635" y="2447912"/>
                    <a:pt x="0" y="2334277"/>
                    <a:pt x="0" y="2194102"/>
                  </a:cubicBezTo>
                  <a:lnTo>
                    <a:pt x="0" y="686715"/>
                  </a:lnTo>
                  <a:cubicBezTo>
                    <a:pt x="0" y="546540"/>
                    <a:pt x="113635" y="432905"/>
                    <a:pt x="253810" y="432905"/>
                  </a:cubicBezTo>
                  <a:lnTo>
                    <a:pt x="307082" y="432905"/>
                  </a:lnTo>
                  <a:lnTo>
                    <a:pt x="307082" y="313169"/>
                  </a:lnTo>
                  <a:cubicBezTo>
                    <a:pt x="307082" y="287995"/>
                    <a:pt x="327490" y="267587"/>
                    <a:pt x="352664" y="267587"/>
                  </a:cubicBezTo>
                  <a:lnTo>
                    <a:pt x="817888" y="267587"/>
                  </a:lnTo>
                  <a:cubicBezTo>
                    <a:pt x="843062" y="267587"/>
                    <a:pt x="863470" y="287995"/>
                    <a:pt x="863470" y="313169"/>
                  </a:cubicBezTo>
                  <a:lnTo>
                    <a:pt x="863470" y="432905"/>
                  </a:lnTo>
                  <a:lnTo>
                    <a:pt x="1361348" y="432905"/>
                  </a:lnTo>
                  <a:lnTo>
                    <a:pt x="1361348" y="91164"/>
                  </a:lnTo>
                  <a:cubicBezTo>
                    <a:pt x="1361348" y="40816"/>
                    <a:pt x="1402164" y="0"/>
                    <a:pt x="145251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/>
            </a:p>
          </p:txBody>
        </p: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F855A8DC-7E2E-4F37-8E98-33057A39FF0D}"/>
                </a:ext>
              </a:extLst>
            </p:cNvPr>
            <p:cNvSpPr/>
            <p:nvPr/>
          </p:nvSpPr>
          <p:spPr>
            <a:xfrm>
              <a:off x="2035547" y="1076963"/>
              <a:ext cx="1129341" cy="112934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sp>
          <p:nvSpPr>
            <p:cNvPr id="1058" name="Rectangle 1057">
              <a:extLst>
                <a:ext uri="{FF2B5EF4-FFF2-40B4-BE49-F238E27FC236}">
                  <a16:creationId xmlns:a16="http://schemas.microsoft.com/office/drawing/2014/main" id="{D60CC17F-E22A-4F1B-8A3D-DAE3295B4B2B}"/>
                </a:ext>
              </a:extLst>
            </p:cNvPr>
            <p:cNvSpPr/>
            <p:nvPr/>
          </p:nvSpPr>
          <p:spPr>
            <a:xfrm>
              <a:off x="4406492" y="1656698"/>
              <a:ext cx="2969603" cy="2558916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sp>
          <p:nvSpPr>
            <p:cNvPr id="1059" name="Oval 1058">
              <a:extLst>
                <a:ext uri="{FF2B5EF4-FFF2-40B4-BE49-F238E27FC236}">
                  <a16:creationId xmlns:a16="http://schemas.microsoft.com/office/drawing/2014/main" id="{2E72A7E1-14CA-4FD4-9357-C84ACF1C0130}"/>
                </a:ext>
              </a:extLst>
            </p:cNvPr>
            <p:cNvSpPr/>
            <p:nvPr/>
          </p:nvSpPr>
          <p:spPr>
            <a:xfrm>
              <a:off x="5321777" y="1076963"/>
              <a:ext cx="1129341" cy="112934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sp>
          <p:nvSpPr>
            <p:cNvPr id="1085" name="TextBox 3153">
              <a:extLst>
                <a:ext uri="{FF2B5EF4-FFF2-40B4-BE49-F238E27FC236}">
                  <a16:creationId xmlns:a16="http://schemas.microsoft.com/office/drawing/2014/main" id="{5F2F0D4A-7DEE-4EA9-822C-7A91555E6497}"/>
                </a:ext>
              </a:extLst>
            </p:cNvPr>
            <p:cNvSpPr txBox="1"/>
            <p:nvPr/>
          </p:nvSpPr>
          <p:spPr>
            <a:xfrm>
              <a:off x="1328554" y="2581562"/>
              <a:ext cx="2541694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/>
                <a:t>R</a:t>
              </a:r>
              <a:r>
                <a:rPr lang="en-US" sz="1400" b="0" i="0">
                  <a:effectLst/>
                </a:rPr>
                <a:t>emoving </a:t>
              </a:r>
              <a:r>
                <a:rPr lang="en-US" sz="1400" b="1" i="0">
                  <a:effectLst/>
                </a:rPr>
                <a:t>duplicates</a:t>
              </a:r>
              <a:r>
                <a:rPr lang="en-US" sz="1400"/>
                <a:t>.</a:t>
              </a:r>
              <a:endParaRPr lang="en-US" sz="1400" b="0" i="0">
                <a:effectLst/>
                <a:cs typeface="Arial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/>
                <a:t>Deriving columns &amp; deleting</a:t>
              </a:r>
              <a:r>
                <a:rPr lang="en-US" sz="1400" b="0" i="0">
                  <a:effectLst/>
                </a:rPr>
                <a:t> </a:t>
              </a:r>
              <a:r>
                <a:rPr lang="en-US" sz="1400" b="1" i="0">
                  <a:effectLst/>
                </a:rPr>
                <a:t>unnecessary columns</a:t>
              </a:r>
              <a:r>
                <a:rPr lang="en-US" sz="1400"/>
                <a:t>.</a:t>
              </a:r>
              <a:endParaRPr lang="en-US" sz="1400">
                <a:cs typeface="Arial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/>
                <a:t>Imputing</a:t>
              </a:r>
              <a:r>
                <a:rPr lang="en-US" sz="1400" b="0" i="0">
                  <a:effectLst/>
                </a:rPr>
                <a:t> </a:t>
              </a:r>
              <a:r>
                <a:rPr lang="en-US" sz="1400" b="1" i="0">
                  <a:effectLst/>
                </a:rPr>
                <a:t>Null values</a:t>
              </a:r>
              <a:r>
                <a:rPr lang="en-US" sz="1400"/>
                <a:t>.</a:t>
              </a:r>
              <a:endParaRPr lang="en-US" sz="1400" b="0" i="0">
                <a:effectLst/>
                <a:cs typeface="Arial"/>
              </a:endParaRPr>
            </a:p>
          </p:txBody>
        </p:sp>
        <p:grpSp>
          <p:nvGrpSpPr>
            <p:cNvPr id="1065" name="Group 1064">
              <a:extLst>
                <a:ext uri="{FF2B5EF4-FFF2-40B4-BE49-F238E27FC236}">
                  <a16:creationId xmlns:a16="http://schemas.microsoft.com/office/drawing/2014/main" id="{364D9876-26E7-4EF2-8E81-27AE76C37C3F}"/>
                </a:ext>
              </a:extLst>
            </p:cNvPr>
            <p:cNvGrpSpPr/>
            <p:nvPr/>
          </p:nvGrpSpPr>
          <p:grpSpPr>
            <a:xfrm>
              <a:off x="3841580" y="2559645"/>
              <a:ext cx="768085" cy="768085"/>
              <a:chOff x="3038349" y="2678861"/>
              <a:chExt cx="576064" cy="576064"/>
            </a:xfrm>
          </p:grpSpPr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20DE9A03-C626-4D5E-90B9-4D0FD868568F}"/>
                  </a:ext>
                </a:extLst>
              </p:cNvPr>
              <p:cNvSpPr/>
              <p:nvPr/>
            </p:nvSpPr>
            <p:spPr>
              <a:xfrm>
                <a:off x="3038349" y="2678861"/>
                <a:ext cx="576064" cy="5760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080" name="Chevron 25">
                <a:extLst>
                  <a:ext uri="{FF2B5EF4-FFF2-40B4-BE49-F238E27FC236}">
                    <a16:creationId xmlns:a16="http://schemas.microsoft.com/office/drawing/2014/main" id="{27CAD255-64AA-4FE5-A13C-D3DF5D2D7399}"/>
                  </a:ext>
                </a:extLst>
              </p:cNvPr>
              <p:cNvSpPr/>
              <p:nvPr/>
            </p:nvSpPr>
            <p:spPr>
              <a:xfrm>
                <a:off x="3161802" y="2786873"/>
                <a:ext cx="360040" cy="360040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87" name="Oval 1086">
              <a:extLst>
                <a:ext uri="{FF2B5EF4-FFF2-40B4-BE49-F238E27FC236}">
                  <a16:creationId xmlns:a16="http://schemas.microsoft.com/office/drawing/2014/main" id="{7D72B2F7-16E3-0C57-1394-F26565A46BD5}"/>
                </a:ext>
              </a:extLst>
            </p:cNvPr>
            <p:cNvSpPr/>
            <p:nvPr/>
          </p:nvSpPr>
          <p:spPr>
            <a:xfrm>
              <a:off x="8608007" y="950393"/>
              <a:ext cx="1129341" cy="112934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sp>
          <p:nvSpPr>
            <p:cNvPr id="1088" name="Rectangle 1087">
              <a:extLst>
                <a:ext uri="{FF2B5EF4-FFF2-40B4-BE49-F238E27FC236}">
                  <a16:creationId xmlns:a16="http://schemas.microsoft.com/office/drawing/2014/main" id="{04FE7B86-96B4-59A6-B4E5-EFE38CE8257A}"/>
                </a:ext>
              </a:extLst>
            </p:cNvPr>
            <p:cNvSpPr/>
            <p:nvPr/>
          </p:nvSpPr>
          <p:spPr>
            <a:xfrm>
              <a:off x="7811326" y="1635597"/>
              <a:ext cx="2969603" cy="2558916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1066" name="Group 1065">
              <a:extLst>
                <a:ext uri="{FF2B5EF4-FFF2-40B4-BE49-F238E27FC236}">
                  <a16:creationId xmlns:a16="http://schemas.microsoft.com/office/drawing/2014/main" id="{B5720B9D-DE60-4975-8F0B-73FF1B71094F}"/>
                </a:ext>
              </a:extLst>
            </p:cNvPr>
            <p:cNvGrpSpPr/>
            <p:nvPr/>
          </p:nvGrpSpPr>
          <p:grpSpPr>
            <a:xfrm>
              <a:off x="7170735" y="2559645"/>
              <a:ext cx="768085" cy="768085"/>
              <a:chOff x="5535215" y="2678861"/>
              <a:chExt cx="576064" cy="576064"/>
            </a:xfrm>
          </p:grpSpPr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E3A846A9-E28C-4597-BFDF-9AC66DED6B68}"/>
                  </a:ext>
                </a:extLst>
              </p:cNvPr>
              <p:cNvSpPr/>
              <p:nvPr/>
            </p:nvSpPr>
            <p:spPr>
              <a:xfrm>
                <a:off x="5535215" y="2678861"/>
                <a:ext cx="576064" cy="57606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078" name="Chevron 28">
                <a:extLst>
                  <a:ext uri="{FF2B5EF4-FFF2-40B4-BE49-F238E27FC236}">
                    <a16:creationId xmlns:a16="http://schemas.microsoft.com/office/drawing/2014/main" id="{BF817F63-84E3-4BF9-8D84-E0F2ADCD545B}"/>
                  </a:ext>
                </a:extLst>
              </p:cNvPr>
              <p:cNvSpPr/>
              <p:nvPr/>
            </p:nvSpPr>
            <p:spPr>
              <a:xfrm>
                <a:off x="5689235" y="2786873"/>
                <a:ext cx="360040" cy="360040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12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9" name="Picture 38" descr="A blue circle with a white text on it and a white text on it&#10;&#10;Description automatically generated">
              <a:extLst>
                <a:ext uri="{FF2B5EF4-FFF2-40B4-BE49-F238E27FC236}">
                  <a16:creationId xmlns:a16="http://schemas.microsoft.com/office/drawing/2014/main" id="{0516BDF0-61AA-BBBE-A24D-018A707F1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45318" y="1191671"/>
              <a:ext cx="909800" cy="909800"/>
            </a:xfrm>
            <a:prstGeom prst="rect">
              <a:avLst/>
            </a:prstGeom>
          </p:spPr>
        </p:pic>
        <p:pic>
          <p:nvPicPr>
            <p:cNvPr id="35" name="Picture 34" descr="A blue circle with a white brain and a chip&#10;&#10;Description automatically generated">
              <a:extLst>
                <a:ext uri="{FF2B5EF4-FFF2-40B4-BE49-F238E27FC236}">
                  <a16:creationId xmlns:a16="http://schemas.microsoft.com/office/drawing/2014/main" id="{F7F90EF4-3EBD-A4E5-F5E5-2A293BCEA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732496" y="1074882"/>
              <a:ext cx="880361" cy="880361"/>
            </a:xfrm>
            <a:prstGeom prst="rect">
              <a:avLst/>
            </a:prstGeom>
          </p:spPr>
        </p:pic>
        <p:pic>
          <p:nvPicPr>
            <p:cNvPr id="37" name="Picture 36" descr="A green circle with white gears&#10;&#10;Description automatically generated">
              <a:extLst>
                <a:ext uri="{FF2B5EF4-FFF2-40B4-BE49-F238E27FC236}">
                  <a16:creationId xmlns:a16="http://schemas.microsoft.com/office/drawing/2014/main" id="{063021B1-D876-E84F-4394-2F473AE06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48297" y="1191893"/>
              <a:ext cx="876300" cy="876300"/>
            </a:xfrm>
            <a:prstGeom prst="rect">
              <a:avLst/>
            </a:prstGeom>
          </p:spPr>
        </p:pic>
        <p:sp>
          <p:nvSpPr>
            <p:cNvPr id="1090" name="Rectangle 1089">
              <a:extLst>
                <a:ext uri="{FF2B5EF4-FFF2-40B4-BE49-F238E27FC236}">
                  <a16:creationId xmlns:a16="http://schemas.microsoft.com/office/drawing/2014/main" id="{F93A1422-D3A7-2E23-831F-408A4658E139}"/>
                </a:ext>
              </a:extLst>
            </p:cNvPr>
            <p:cNvSpPr/>
            <p:nvPr/>
          </p:nvSpPr>
          <p:spPr>
            <a:xfrm>
              <a:off x="1720470" y="2290484"/>
              <a:ext cx="1759494" cy="215444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400" b="1" i="0">
                  <a:solidFill>
                    <a:schemeClr val="accent2">
                      <a:lumMod val="75000"/>
                    </a:schemeClr>
                  </a:solidFill>
                  <a:effectLst/>
                  <a:latin typeface="+mj-lt"/>
                  <a:cs typeface="Segoe UI" panose="020B0502040204020203" pitchFamily="34" charset="0"/>
                </a:rPr>
                <a:t>DATA CLEANING</a:t>
              </a:r>
            </a:p>
          </p:txBody>
        </p:sp>
        <p:sp>
          <p:nvSpPr>
            <p:cNvPr id="1091" name="Rectangle 1090">
              <a:extLst>
                <a:ext uri="{FF2B5EF4-FFF2-40B4-BE49-F238E27FC236}">
                  <a16:creationId xmlns:a16="http://schemas.microsoft.com/office/drawing/2014/main" id="{1FF888D3-CF04-A009-D07A-D7FE90BB0853}"/>
                </a:ext>
              </a:extLst>
            </p:cNvPr>
            <p:cNvSpPr/>
            <p:nvPr/>
          </p:nvSpPr>
          <p:spPr>
            <a:xfrm>
              <a:off x="7506175" y="2245790"/>
              <a:ext cx="3654763" cy="507831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400" b="1">
                  <a:solidFill>
                    <a:schemeClr val="accent2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MODELING AND EVALUATION</a:t>
              </a:r>
            </a:p>
            <a:p>
              <a:pPr algn="ctr">
                <a:spcBef>
                  <a:spcPts val="600"/>
                </a:spcBef>
              </a:pPr>
              <a:endParaRPr lang="en-US" sz="1400" b="1" i="0">
                <a:solidFill>
                  <a:schemeClr val="accent2">
                    <a:lumMod val="75000"/>
                  </a:schemeClr>
                </a:solidFill>
                <a:effectLst/>
                <a:latin typeface="+mj-lt"/>
                <a:cs typeface="Segoe UI" panose="020B0502040204020203" pitchFamily="34" charset="0"/>
              </a:endParaRPr>
            </a:p>
          </p:txBody>
        </p:sp>
        <p:sp>
          <p:nvSpPr>
            <p:cNvPr id="1092" name="Rectangle 1091">
              <a:extLst>
                <a:ext uri="{FF2B5EF4-FFF2-40B4-BE49-F238E27FC236}">
                  <a16:creationId xmlns:a16="http://schemas.microsoft.com/office/drawing/2014/main" id="{A01121A6-62B2-EAB7-85F9-E087C45E81FD}"/>
                </a:ext>
              </a:extLst>
            </p:cNvPr>
            <p:cNvSpPr/>
            <p:nvPr/>
          </p:nvSpPr>
          <p:spPr>
            <a:xfrm>
              <a:off x="4785688" y="2270999"/>
              <a:ext cx="2201518" cy="800219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400" b="1" i="0">
                  <a:solidFill>
                    <a:schemeClr val="accent2">
                      <a:lumMod val="75000"/>
                    </a:schemeClr>
                  </a:solidFill>
                  <a:effectLst/>
                  <a:latin typeface="+mj-lt"/>
                  <a:cs typeface="Segoe UI" panose="020B0502040204020203" pitchFamily="34" charset="0"/>
                </a:rPr>
                <a:t> FEATURE ENGINEERING</a:t>
              </a:r>
            </a:p>
            <a:p>
              <a:pPr algn="ctr">
                <a:spcBef>
                  <a:spcPts val="600"/>
                </a:spcBef>
              </a:pPr>
              <a:endParaRPr lang="en-US" sz="1400" b="1">
                <a:solidFill>
                  <a:schemeClr val="accent2">
                    <a:lumMod val="75000"/>
                  </a:schemeClr>
                </a:solidFill>
                <a:latin typeface="+mj-lt"/>
                <a:cs typeface="Segoe UI" panose="020B0502040204020203" pitchFamily="34" charset="0"/>
              </a:endParaRPr>
            </a:p>
            <a:p>
              <a:pPr algn="ctr">
                <a:spcBef>
                  <a:spcPts val="600"/>
                </a:spcBef>
              </a:pPr>
              <a:endParaRPr lang="en-US" sz="1400" b="1" i="0">
                <a:solidFill>
                  <a:schemeClr val="accent2">
                    <a:lumMod val="75000"/>
                  </a:schemeClr>
                </a:solidFill>
                <a:effectLst/>
                <a:latin typeface="+mj-lt"/>
                <a:cs typeface="Segoe UI" panose="020B0502040204020203" pitchFamily="34" charset="0"/>
              </a:endParaRPr>
            </a:p>
          </p:txBody>
        </p:sp>
        <p:sp>
          <p:nvSpPr>
            <p:cNvPr id="7" name="TextBox 3153">
              <a:extLst>
                <a:ext uri="{FF2B5EF4-FFF2-40B4-BE49-F238E27FC236}">
                  <a16:creationId xmlns:a16="http://schemas.microsoft.com/office/drawing/2014/main" id="{D2E4AF7E-AAED-8978-EC0D-7F66F89D3154}"/>
                </a:ext>
              </a:extLst>
            </p:cNvPr>
            <p:cNvSpPr txBox="1"/>
            <p:nvPr/>
          </p:nvSpPr>
          <p:spPr>
            <a:xfrm>
              <a:off x="4562771" y="2515957"/>
              <a:ext cx="2748284" cy="181588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Arial"/>
                <a:buChar char="•"/>
              </a:pPr>
              <a:r>
                <a:rPr lang="en-US" sz="1400" b="1"/>
                <a:t>Columns derived:</a:t>
              </a:r>
              <a:r>
                <a:rPr lang="en-US" sz="1400"/>
                <a:t> Mean Length of Stay, Age-Groups, Visit Pattern, Air Quality and SDOH.</a:t>
              </a:r>
              <a:endParaRPr lang="en-US"/>
            </a:p>
            <a:p>
              <a:pPr marL="285750" indent="-285750">
                <a:buFont typeface="Arial"/>
                <a:buChar char="•"/>
              </a:pPr>
              <a:r>
                <a:rPr lang="en-US" sz="1400" b="1">
                  <a:solidFill>
                    <a:srgbClr val="000000"/>
                  </a:solidFill>
                  <a:cs typeface="Arial"/>
                </a:rPr>
                <a:t>One-hot encoded:</a:t>
              </a:r>
              <a:r>
                <a:rPr lang="en-US" sz="1400">
                  <a:solidFill>
                    <a:srgbClr val="000000"/>
                  </a:solidFill>
                  <a:cs typeface="Arial"/>
                </a:rPr>
                <a:t> Procedures and Diseases.</a:t>
              </a:r>
              <a:endParaRPr lang="en-US" sz="1400">
                <a:solidFill>
                  <a:srgbClr val="000000"/>
                </a:solidFill>
                <a:cs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endParaRPr lang="en-U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784E2B94-0ADA-4D5C-431D-86319FC4B7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152778"/>
              </p:ext>
            </p:extLst>
          </p:nvPr>
        </p:nvGraphicFramePr>
        <p:xfrm>
          <a:off x="310001" y="2130719"/>
          <a:ext cx="11660326" cy="338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6" name="TextBox 3153">
            <a:extLst>
              <a:ext uri="{FF2B5EF4-FFF2-40B4-BE49-F238E27FC236}">
                <a16:creationId xmlns:a16="http://schemas.microsoft.com/office/drawing/2014/main" id="{1F50CA57-62EA-6F61-97CD-D7BE0D21B374}"/>
              </a:ext>
            </a:extLst>
          </p:cNvPr>
          <p:cNvSpPr txBox="1"/>
          <p:nvPr/>
        </p:nvSpPr>
        <p:spPr>
          <a:xfrm>
            <a:off x="8039738" y="4451552"/>
            <a:ext cx="2748284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400" b="1"/>
              <a:t>XGBoost</a:t>
            </a:r>
            <a:r>
              <a:rPr lang="en-US" sz="1400"/>
              <a:t>, ensemble learning technique combined with gradient boosting</a:t>
            </a:r>
            <a:r>
              <a:rPr lang="en-US" sz="1400">
                <a:solidFill>
                  <a:srgbClr val="000000"/>
                </a:solidFill>
                <a:cs typeface="Arial"/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1400" b="1">
                <a:solidFill>
                  <a:srgbClr val="000000"/>
                </a:solidFill>
                <a:cs typeface="Arial"/>
              </a:rPr>
              <a:t>Model Evaluation:</a:t>
            </a:r>
            <a:r>
              <a:rPr lang="en-US" sz="1400">
                <a:solidFill>
                  <a:srgbClr val="000000"/>
                </a:solidFill>
                <a:cs typeface="Arial"/>
              </a:rPr>
              <a:t> F1 score, accuracy, ROC curve.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000000"/>
                </a:solidFill>
                <a:cs typeface="Arial"/>
              </a:rPr>
              <a:t>Feature importance calculation.</a:t>
            </a:r>
            <a:endParaRPr lang="en-US" sz="1400">
              <a:solidFill>
                <a:srgbClr val="000000"/>
              </a:solidFill>
              <a:cs typeface="Arial" pitchFamily="34" charset="0"/>
            </a:endParaRPr>
          </a:p>
          <a:p>
            <a:pPr marL="285750" indent="-285750">
              <a:buFont typeface="Arial"/>
              <a:buChar char="•"/>
            </a:pPr>
            <a:endParaRPr lang="en-US" sz="14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57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 5">
            <a:extLst>
              <a:ext uri="{FF2B5EF4-FFF2-40B4-BE49-F238E27FC236}">
                <a16:creationId xmlns:a16="http://schemas.microsoft.com/office/drawing/2014/main" id="{796FA876-7F8B-7C14-EE56-2FE153110E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auto">
          <a:xfrm>
            <a:off x="163399" y="1574583"/>
            <a:ext cx="2718780" cy="3012515"/>
          </a:xfrm>
          <a:custGeom>
            <a:avLst/>
            <a:gdLst>
              <a:gd name="T0" fmla="*/ 0 w 1629"/>
              <a:gd name="T1" fmla="*/ 1665 h 1831"/>
              <a:gd name="T2" fmla="*/ 1449 w 1629"/>
              <a:gd name="T3" fmla="*/ 0 h 1831"/>
              <a:gd name="T4" fmla="*/ 1629 w 1629"/>
              <a:gd name="T5" fmla="*/ 407 h 1831"/>
              <a:gd name="T6" fmla="*/ 390 w 1629"/>
              <a:gd name="T7" fmla="*/ 1831 h 1831"/>
              <a:gd name="T8" fmla="*/ 0 w 1629"/>
              <a:gd name="T9" fmla="*/ 1665 h 1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29" h="1831">
                <a:moveTo>
                  <a:pt x="0" y="1665"/>
                </a:moveTo>
                <a:lnTo>
                  <a:pt x="1449" y="0"/>
                </a:lnTo>
                <a:lnTo>
                  <a:pt x="1629" y="407"/>
                </a:lnTo>
                <a:lnTo>
                  <a:pt x="390" y="1831"/>
                </a:lnTo>
                <a:lnTo>
                  <a:pt x="0" y="16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r>
              <a:rPr lang="en-US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35B5F-AF8A-B064-0457-417720352E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70301" y="6432562"/>
            <a:ext cx="492123" cy="231921"/>
          </a:xfrm>
        </p:spPr>
        <p:txBody>
          <a:bodyPr/>
          <a:lstStyle/>
          <a:p>
            <a:fld id="{1E3D5677-3D20-0C46-8497-54D73E68904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5514C0-991F-1EBA-0C01-6BC2F9685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39" y="270807"/>
            <a:ext cx="11263311" cy="876299"/>
          </a:xfrm>
        </p:spPr>
        <p:txBody>
          <a:bodyPr/>
          <a:lstStyle/>
          <a:p>
            <a:pPr algn="just"/>
            <a:r>
              <a:rPr lang="en-US" b="1"/>
              <a:t>Data Summary</a:t>
            </a:r>
          </a:p>
        </p:txBody>
      </p:sp>
      <p:sp>
        <p:nvSpPr>
          <p:cNvPr id="71" name="Freeform 7">
            <a:extLst>
              <a:ext uri="{FF2B5EF4-FFF2-40B4-BE49-F238E27FC236}">
                <a16:creationId xmlns:a16="http://schemas.microsoft.com/office/drawing/2014/main" id="{C5A78D86-D3C7-3FA6-C807-5DDC3ECF3C56}"/>
              </a:ext>
            </a:extLst>
          </p:cNvPr>
          <p:cNvSpPr>
            <a:spLocks/>
          </p:cNvSpPr>
          <p:nvPr/>
        </p:nvSpPr>
        <p:spPr bwMode="auto">
          <a:xfrm>
            <a:off x="796014" y="2210329"/>
            <a:ext cx="4068947" cy="2356553"/>
          </a:xfrm>
          <a:custGeom>
            <a:avLst/>
            <a:gdLst>
              <a:gd name="T0" fmla="*/ 0 w 2398"/>
              <a:gd name="T1" fmla="*/ 1424 h 1424"/>
              <a:gd name="T2" fmla="*/ 2398 w 2398"/>
              <a:gd name="T3" fmla="*/ 917 h 1424"/>
              <a:gd name="T4" fmla="*/ 1239 w 2398"/>
              <a:gd name="T5" fmla="*/ 0 h 1424"/>
              <a:gd name="T6" fmla="*/ 0 w 2398"/>
              <a:gd name="T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8" h="1424">
                <a:moveTo>
                  <a:pt x="0" y="1424"/>
                </a:moveTo>
                <a:lnTo>
                  <a:pt x="2398" y="917"/>
                </a:lnTo>
                <a:lnTo>
                  <a:pt x="1239" y="0"/>
                </a:lnTo>
                <a:lnTo>
                  <a:pt x="0" y="142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Freeform 8">
            <a:extLst>
              <a:ext uri="{FF2B5EF4-FFF2-40B4-BE49-F238E27FC236}">
                <a16:creationId xmlns:a16="http://schemas.microsoft.com/office/drawing/2014/main" id="{6812A13F-D8DA-48FC-E7E4-E26039628B9D}"/>
              </a:ext>
            </a:extLst>
          </p:cNvPr>
          <p:cNvSpPr>
            <a:spLocks/>
          </p:cNvSpPr>
          <p:nvPr/>
        </p:nvSpPr>
        <p:spPr bwMode="auto">
          <a:xfrm>
            <a:off x="3104041" y="2694796"/>
            <a:ext cx="1770340" cy="1817870"/>
          </a:xfrm>
          <a:custGeom>
            <a:avLst/>
            <a:gdLst>
              <a:gd name="T0" fmla="*/ 1019 w 1019"/>
              <a:gd name="T1" fmla="*/ 808 h 1052"/>
              <a:gd name="T2" fmla="*/ 993 w 1019"/>
              <a:gd name="T3" fmla="*/ 1052 h 1052"/>
              <a:gd name="T4" fmla="*/ 164 w 1019"/>
              <a:gd name="T5" fmla="*/ 407 h 1052"/>
              <a:gd name="T6" fmla="*/ 0 w 1019"/>
              <a:gd name="T7" fmla="*/ 0 h 1052"/>
              <a:gd name="T8" fmla="*/ 1019 w 1019"/>
              <a:gd name="T9" fmla="*/ 808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9" h="1052">
                <a:moveTo>
                  <a:pt x="1019" y="808"/>
                </a:moveTo>
                <a:lnTo>
                  <a:pt x="993" y="1052"/>
                </a:lnTo>
                <a:lnTo>
                  <a:pt x="164" y="407"/>
                </a:lnTo>
                <a:lnTo>
                  <a:pt x="0" y="0"/>
                </a:lnTo>
                <a:lnTo>
                  <a:pt x="1019" y="80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Freeform 9">
            <a:extLst>
              <a:ext uri="{FF2B5EF4-FFF2-40B4-BE49-F238E27FC236}">
                <a16:creationId xmlns:a16="http://schemas.microsoft.com/office/drawing/2014/main" id="{CBFA9733-99B0-09F3-1206-8CE6A3DF578A}"/>
              </a:ext>
            </a:extLst>
          </p:cNvPr>
          <p:cNvSpPr>
            <a:spLocks/>
          </p:cNvSpPr>
          <p:nvPr/>
        </p:nvSpPr>
        <p:spPr bwMode="auto">
          <a:xfrm>
            <a:off x="1235449" y="2674854"/>
            <a:ext cx="2134585" cy="2351589"/>
          </a:xfrm>
          <a:custGeom>
            <a:avLst/>
            <a:gdLst>
              <a:gd name="T0" fmla="*/ 0 w 1258"/>
              <a:gd name="T1" fmla="*/ 1255 h 1421"/>
              <a:gd name="T2" fmla="*/ 381 w 1258"/>
              <a:gd name="T3" fmla="*/ 1421 h 1421"/>
              <a:gd name="T4" fmla="*/ 1258 w 1258"/>
              <a:gd name="T5" fmla="*/ 407 h 1421"/>
              <a:gd name="T6" fmla="*/ 1094 w 1258"/>
              <a:gd name="T7" fmla="*/ 0 h 1421"/>
              <a:gd name="T8" fmla="*/ 0 w 1258"/>
              <a:gd name="T9" fmla="*/ 1255 h 1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8" h="1421">
                <a:moveTo>
                  <a:pt x="0" y="1255"/>
                </a:moveTo>
                <a:lnTo>
                  <a:pt x="381" y="1421"/>
                </a:lnTo>
                <a:lnTo>
                  <a:pt x="1258" y="407"/>
                </a:lnTo>
                <a:lnTo>
                  <a:pt x="1094" y="0"/>
                </a:lnTo>
                <a:lnTo>
                  <a:pt x="0" y="12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Freeform 10">
            <a:extLst>
              <a:ext uri="{FF2B5EF4-FFF2-40B4-BE49-F238E27FC236}">
                <a16:creationId xmlns:a16="http://schemas.microsoft.com/office/drawing/2014/main" id="{2AC930EE-F431-16EA-98A3-1176D9434525}"/>
              </a:ext>
            </a:extLst>
          </p:cNvPr>
          <p:cNvSpPr>
            <a:spLocks/>
          </p:cNvSpPr>
          <p:nvPr/>
        </p:nvSpPr>
        <p:spPr bwMode="auto">
          <a:xfrm>
            <a:off x="1865960" y="3348392"/>
            <a:ext cx="2894756" cy="1678051"/>
          </a:xfrm>
          <a:custGeom>
            <a:avLst/>
            <a:gdLst>
              <a:gd name="T0" fmla="*/ 1706 w 1706"/>
              <a:gd name="T1" fmla="*/ 645 h 1014"/>
              <a:gd name="T2" fmla="*/ 0 w 1706"/>
              <a:gd name="T3" fmla="*/ 1014 h 1014"/>
              <a:gd name="T4" fmla="*/ 877 w 1706"/>
              <a:gd name="T5" fmla="*/ 0 h 1014"/>
              <a:gd name="T6" fmla="*/ 1706 w 1706"/>
              <a:gd name="T7" fmla="*/ 645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06" h="1014">
                <a:moveTo>
                  <a:pt x="1706" y="645"/>
                </a:moveTo>
                <a:lnTo>
                  <a:pt x="0" y="1014"/>
                </a:lnTo>
                <a:lnTo>
                  <a:pt x="877" y="0"/>
                </a:lnTo>
                <a:lnTo>
                  <a:pt x="1706" y="645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Freeform 11">
            <a:extLst>
              <a:ext uri="{FF2B5EF4-FFF2-40B4-BE49-F238E27FC236}">
                <a16:creationId xmlns:a16="http://schemas.microsoft.com/office/drawing/2014/main" id="{2E4A50D1-4E6E-1C92-FACA-EE08110C1EE6}"/>
              </a:ext>
            </a:extLst>
          </p:cNvPr>
          <p:cNvSpPr>
            <a:spLocks/>
          </p:cNvSpPr>
          <p:nvPr/>
        </p:nvSpPr>
        <p:spPr bwMode="auto">
          <a:xfrm>
            <a:off x="2183721" y="3829127"/>
            <a:ext cx="1559368" cy="1712804"/>
          </a:xfrm>
          <a:custGeom>
            <a:avLst/>
            <a:gdLst>
              <a:gd name="T0" fmla="*/ 0 w 919"/>
              <a:gd name="T1" fmla="*/ 860 h 1035"/>
              <a:gd name="T2" fmla="*/ 388 w 919"/>
              <a:gd name="T3" fmla="*/ 1035 h 1035"/>
              <a:gd name="T4" fmla="*/ 919 w 919"/>
              <a:gd name="T5" fmla="*/ 424 h 1035"/>
              <a:gd name="T6" fmla="*/ 746 w 919"/>
              <a:gd name="T7" fmla="*/ 0 h 1035"/>
              <a:gd name="T8" fmla="*/ 0 w 919"/>
              <a:gd name="T9" fmla="*/ 860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9" h="1035">
                <a:moveTo>
                  <a:pt x="0" y="860"/>
                </a:moveTo>
                <a:lnTo>
                  <a:pt x="388" y="1035"/>
                </a:lnTo>
                <a:lnTo>
                  <a:pt x="919" y="424"/>
                </a:lnTo>
                <a:lnTo>
                  <a:pt x="746" y="0"/>
                </a:lnTo>
                <a:lnTo>
                  <a:pt x="0" y="8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Freeform 12">
            <a:extLst>
              <a:ext uri="{FF2B5EF4-FFF2-40B4-BE49-F238E27FC236}">
                <a16:creationId xmlns:a16="http://schemas.microsoft.com/office/drawing/2014/main" id="{E46B1AF3-01DA-A975-A969-9B137F3A9451}"/>
              </a:ext>
            </a:extLst>
          </p:cNvPr>
          <p:cNvSpPr>
            <a:spLocks/>
          </p:cNvSpPr>
          <p:nvPr/>
        </p:nvSpPr>
        <p:spPr bwMode="auto">
          <a:xfrm>
            <a:off x="3453449" y="3831092"/>
            <a:ext cx="1250674" cy="1375785"/>
          </a:xfrm>
          <a:custGeom>
            <a:avLst/>
            <a:gdLst>
              <a:gd name="T0" fmla="*/ 701 w 701"/>
              <a:gd name="T1" fmla="*/ 564 h 815"/>
              <a:gd name="T2" fmla="*/ 675 w 701"/>
              <a:gd name="T3" fmla="*/ 815 h 815"/>
              <a:gd name="T4" fmla="*/ 173 w 701"/>
              <a:gd name="T5" fmla="*/ 424 h 815"/>
              <a:gd name="T6" fmla="*/ 0 w 701"/>
              <a:gd name="T7" fmla="*/ 0 h 815"/>
              <a:gd name="T8" fmla="*/ 701 w 701"/>
              <a:gd name="T9" fmla="*/ 564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01" h="815">
                <a:moveTo>
                  <a:pt x="701" y="564"/>
                </a:moveTo>
                <a:lnTo>
                  <a:pt x="675" y="815"/>
                </a:lnTo>
                <a:lnTo>
                  <a:pt x="173" y="424"/>
                </a:lnTo>
                <a:lnTo>
                  <a:pt x="0" y="0"/>
                </a:lnTo>
                <a:lnTo>
                  <a:pt x="701" y="56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Freeform 13">
            <a:extLst>
              <a:ext uri="{FF2B5EF4-FFF2-40B4-BE49-F238E27FC236}">
                <a16:creationId xmlns:a16="http://schemas.microsoft.com/office/drawing/2014/main" id="{2129CE66-88C4-7631-375C-3D724BC7F0F4}"/>
              </a:ext>
            </a:extLst>
          </p:cNvPr>
          <p:cNvSpPr>
            <a:spLocks/>
          </p:cNvSpPr>
          <p:nvPr/>
        </p:nvSpPr>
        <p:spPr bwMode="auto">
          <a:xfrm>
            <a:off x="2791415" y="4521498"/>
            <a:ext cx="1825250" cy="1011134"/>
          </a:xfrm>
          <a:custGeom>
            <a:avLst/>
            <a:gdLst>
              <a:gd name="T0" fmla="*/ 0 w 1033"/>
              <a:gd name="T1" fmla="*/ 611 h 611"/>
              <a:gd name="T2" fmla="*/ 1033 w 1033"/>
              <a:gd name="T3" fmla="*/ 391 h 611"/>
              <a:gd name="T4" fmla="*/ 531 w 1033"/>
              <a:gd name="T5" fmla="*/ 0 h 611"/>
              <a:gd name="T6" fmla="*/ 0 w 1033"/>
              <a:gd name="T7" fmla="*/ 611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33" h="611">
                <a:moveTo>
                  <a:pt x="0" y="611"/>
                </a:moveTo>
                <a:lnTo>
                  <a:pt x="1033" y="391"/>
                </a:lnTo>
                <a:lnTo>
                  <a:pt x="531" y="0"/>
                </a:lnTo>
                <a:lnTo>
                  <a:pt x="0" y="61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 14">
            <a:extLst>
              <a:ext uri="{FF2B5EF4-FFF2-40B4-BE49-F238E27FC236}">
                <a16:creationId xmlns:a16="http://schemas.microsoft.com/office/drawing/2014/main" id="{DB43554C-310E-FF1F-9060-AE003F1EF653}"/>
              </a:ext>
            </a:extLst>
          </p:cNvPr>
          <p:cNvSpPr>
            <a:spLocks/>
          </p:cNvSpPr>
          <p:nvPr/>
        </p:nvSpPr>
        <p:spPr bwMode="auto">
          <a:xfrm rot="398109">
            <a:off x="3738103" y="4962584"/>
            <a:ext cx="956101" cy="1027733"/>
          </a:xfrm>
          <a:custGeom>
            <a:avLst/>
            <a:gdLst>
              <a:gd name="T0" fmla="*/ 0 w 360"/>
              <a:gd name="T1" fmla="*/ 0 h 741"/>
              <a:gd name="T2" fmla="*/ 306 w 360"/>
              <a:gd name="T3" fmla="*/ 741 h 741"/>
              <a:gd name="T4" fmla="*/ 360 w 360"/>
              <a:gd name="T5" fmla="*/ 282 h 741"/>
              <a:gd name="T6" fmla="*/ 0 w 360"/>
              <a:gd name="T7" fmla="*/ 0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0" h="741">
                <a:moveTo>
                  <a:pt x="0" y="0"/>
                </a:moveTo>
                <a:lnTo>
                  <a:pt x="306" y="741"/>
                </a:lnTo>
                <a:lnTo>
                  <a:pt x="360" y="28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 15">
            <a:extLst>
              <a:ext uri="{FF2B5EF4-FFF2-40B4-BE49-F238E27FC236}">
                <a16:creationId xmlns:a16="http://schemas.microsoft.com/office/drawing/2014/main" id="{F696B4C2-7F4F-CF95-6558-22C682982E88}"/>
              </a:ext>
            </a:extLst>
          </p:cNvPr>
          <p:cNvSpPr>
            <a:spLocks/>
          </p:cNvSpPr>
          <p:nvPr/>
        </p:nvSpPr>
        <p:spPr bwMode="auto">
          <a:xfrm rot="21338614">
            <a:off x="3034714" y="4920750"/>
            <a:ext cx="1448962" cy="1162111"/>
          </a:xfrm>
          <a:custGeom>
            <a:avLst/>
            <a:gdLst>
              <a:gd name="T0" fmla="*/ 0 w 692"/>
              <a:gd name="T1" fmla="*/ 445 h 741"/>
              <a:gd name="T2" fmla="*/ 692 w 692"/>
              <a:gd name="T3" fmla="*/ 741 h 741"/>
              <a:gd name="T4" fmla="*/ 386 w 692"/>
              <a:gd name="T5" fmla="*/ 0 h 741"/>
              <a:gd name="T6" fmla="*/ 0 w 692"/>
              <a:gd name="T7" fmla="*/ 445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741">
                <a:moveTo>
                  <a:pt x="0" y="445"/>
                </a:moveTo>
                <a:lnTo>
                  <a:pt x="692" y="741"/>
                </a:lnTo>
                <a:lnTo>
                  <a:pt x="386" y="0"/>
                </a:lnTo>
                <a:lnTo>
                  <a:pt x="0" y="4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6E6AA6B-17C4-B103-9796-CD250EBB64A9}"/>
              </a:ext>
            </a:extLst>
          </p:cNvPr>
          <p:cNvGrpSpPr/>
          <p:nvPr/>
        </p:nvGrpSpPr>
        <p:grpSpPr>
          <a:xfrm>
            <a:off x="6740572" y="2531154"/>
            <a:ext cx="4642198" cy="2307772"/>
            <a:chOff x="4296229" y="2692400"/>
            <a:chExt cx="8984342" cy="2307772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7566E12B-F432-B479-920E-020C5BA38FB4}"/>
                </a:ext>
              </a:extLst>
            </p:cNvPr>
            <p:cNvCxnSpPr/>
            <p:nvPr/>
          </p:nvCxnSpPr>
          <p:spPr>
            <a:xfrm>
              <a:off x="4296229" y="2692400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0155EB8-8CC4-F8D4-0AC3-4CBA097A9B8E}"/>
                </a:ext>
              </a:extLst>
            </p:cNvPr>
            <p:cNvCxnSpPr/>
            <p:nvPr/>
          </p:nvCxnSpPr>
          <p:spPr>
            <a:xfrm>
              <a:off x="4296229" y="3846286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790CF03-A378-B6A7-77D5-D435DA6E9D53}"/>
                </a:ext>
              </a:extLst>
            </p:cNvPr>
            <p:cNvCxnSpPr/>
            <p:nvPr/>
          </p:nvCxnSpPr>
          <p:spPr>
            <a:xfrm>
              <a:off x="4296229" y="5000172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Oval 83">
            <a:extLst>
              <a:ext uri="{FF2B5EF4-FFF2-40B4-BE49-F238E27FC236}">
                <a16:creationId xmlns:a16="http://schemas.microsoft.com/office/drawing/2014/main" id="{9D01E9C5-FC8A-8327-FD64-4F1EBC9892E4}"/>
              </a:ext>
            </a:extLst>
          </p:cNvPr>
          <p:cNvSpPr/>
          <p:nvPr/>
        </p:nvSpPr>
        <p:spPr>
          <a:xfrm>
            <a:off x="5972281" y="1617933"/>
            <a:ext cx="518410" cy="519585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DCC00AA-B360-E9C1-EEFE-38470A589FE1}"/>
              </a:ext>
            </a:extLst>
          </p:cNvPr>
          <p:cNvCxnSpPr>
            <a:cxnSpLocks/>
          </p:cNvCxnSpPr>
          <p:nvPr/>
        </p:nvCxnSpPr>
        <p:spPr>
          <a:xfrm>
            <a:off x="2726062" y="1860937"/>
            <a:ext cx="3328359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CE3EB04-26C5-D1E3-8025-9BD6754C4CA4}"/>
              </a:ext>
            </a:extLst>
          </p:cNvPr>
          <p:cNvCxnSpPr>
            <a:cxnSpLocks/>
          </p:cNvCxnSpPr>
          <p:nvPr/>
        </p:nvCxnSpPr>
        <p:spPr>
          <a:xfrm>
            <a:off x="3075321" y="3032395"/>
            <a:ext cx="3416060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75C21BB-A63C-87BC-41D7-EF426CB13726}"/>
              </a:ext>
            </a:extLst>
          </p:cNvPr>
          <p:cNvCxnSpPr>
            <a:cxnSpLocks/>
          </p:cNvCxnSpPr>
          <p:nvPr/>
        </p:nvCxnSpPr>
        <p:spPr>
          <a:xfrm>
            <a:off x="3831256" y="4215203"/>
            <a:ext cx="2317350" cy="916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E082E717-5559-BD56-765A-B6356CF01372}"/>
              </a:ext>
            </a:extLst>
          </p:cNvPr>
          <p:cNvCxnSpPr>
            <a:cxnSpLocks/>
          </p:cNvCxnSpPr>
          <p:nvPr/>
        </p:nvCxnSpPr>
        <p:spPr>
          <a:xfrm>
            <a:off x="3612172" y="5624504"/>
            <a:ext cx="2426332" cy="11396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8690716A-78FC-8CA7-A5CD-BB845BE54FBD}"/>
              </a:ext>
            </a:extLst>
          </p:cNvPr>
          <p:cNvSpPr/>
          <p:nvPr/>
        </p:nvSpPr>
        <p:spPr>
          <a:xfrm>
            <a:off x="6668478" y="1327404"/>
            <a:ext cx="5683620" cy="135421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>
                <a:latin typeface="Segoe UI"/>
                <a:cs typeface="Segoe UI"/>
              </a:rPr>
              <a:t> </a:t>
            </a:r>
            <a:r>
              <a:rPr lang="en-US" sz="1600" i="0">
                <a:effectLst/>
                <a:latin typeface="Segoe UI"/>
                <a:cs typeface="Segoe UI"/>
              </a:rPr>
              <a:t> </a:t>
            </a:r>
          </a:p>
          <a:p>
            <a:r>
              <a:rPr lang="en-US" sz="1400" b="1" i="0">
                <a:effectLst/>
                <a:latin typeface="Arial"/>
                <a:cs typeface="Segoe UI"/>
              </a:rPr>
              <a:t>Data Statist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>
                <a:effectLst/>
                <a:latin typeface="Arial"/>
                <a:cs typeface="Segoe UI"/>
              </a:rPr>
              <a:t>No of encounters: 53,346</a:t>
            </a:r>
          </a:p>
          <a:p>
            <a:pPr marL="285750" indent="-285750">
              <a:buFont typeface="Arial"/>
              <a:buChar char="•"/>
            </a:pPr>
            <a:r>
              <a:rPr lang="en-US" sz="1400" i="0">
                <a:effectLst/>
                <a:latin typeface="Arial"/>
                <a:cs typeface="Segoe UI"/>
              </a:rPr>
              <a:t>No of patients: 1,171</a:t>
            </a:r>
          </a:p>
          <a:p>
            <a:pPr marL="285750" indent="-285750">
              <a:buFont typeface="Arial"/>
              <a:buChar char="•"/>
            </a:pPr>
            <a:r>
              <a:rPr lang="en-US" sz="1400" i="0">
                <a:effectLst/>
                <a:latin typeface="Arial"/>
                <a:cs typeface="Segoe UI"/>
              </a:rPr>
              <a:t>No of columns: </a:t>
            </a:r>
            <a:r>
              <a:rPr lang="en-US" sz="1400">
                <a:latin typeface="Arial"/>
                <a:cs typeface="Segoe UI"/>
              </a:rPr>
              <a:t>40</a:t>
            </a:r>
            <a:endParaRPr lang="en-US" sz="1400" i="0">
              <a:effectLst/>
              <a:latin typeface="Arial"/>
              <a:cs typeface="Segoe UI"/>
            </a:endParaRPr>
          </a:p>
          <a:p>
            <a:pPr lvl="0"/>
            <a:endParaRPr lang="en-US" sz="160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220A9A8-E39B-8C41-C6BB-242DAA16863D}"/>
              </a:ext>
            </a:extLst>
          </p:cNvPr>
          <p:cNvSpPr/>
          <p:nvPr/>
        </p:nvSpPr>
        <p:spPr>
          <a:xfrm>
            <a:off x="6648368" y="2781069"/>
            <a:ext cx="5144724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1400" b="1"/>
              <a:t>Columns dropped: </a:t>
            </a:r>
            <a:endParaRPr lang="en-US" sz="80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/>
              <a:t>Marital status, Address, SSN, Name, Passport ID, Latitude and Longitude.</a:t>
            </a:r>
            <a:endParaRPr lang="en-US" sz="1400">
              <a:cs typeface="Arial"/>
            </a:endParaRPr>
          </a:p>
        </p:txBody>
      </p:sp>
      <p:sp>
        <p:nvSpPr>
          <p:cNvPr id="97" name="Freeform 6">
            <a:extLst>
              <a:ext uri="{FF2B5EF4-FFF2-40B4-BE49-F238E27FC236}">
                <a16:creationId xmlns:a16="http://schemas.microsoft.com/office/drawing/2014/main" id="{756146F0-2970-B9EC-0160-022045AADE01}"/>
              </a:ext>
            </a:extLst>
          </p:cNvPr>
          <p:cNvSpPr>
            <a:spLocks/>
          </p:cNvSpPr>
          <p:nvPr/>
        </p:nvSpPr>
        <p:spPr bwMode="auto">
          <a:xfrm>
            <a:off x="2578175" y="1572009"/>
            <a:ext cx="2315541" cy="2190494"/>
          </a:xfrm>
          <a:custGeom>
            <a:avLst/>
            <a:gdLst>
              <a:gd name="T0" fmla="*/ 1365 w 1365"/>
              <a:gd name="T1" fmla="*/ 1078 h 1324"/>
              <a:gd name="T2" fmla="*/ 1339 w 1365"/>
              <a:gd name="T3" fmla="*/ 1324 h 1324"/>
              <a:gd name="T4" fmla="*/ 180 w 1365"/>
              <a:gd name="T5" fmla="*/ 407 h 1324"/>
              <a:gd name="T6" fmla="*/ 0 w 1365"/>
              <a:gd name="T7" fmla="*/ 0 h 1324"/>
              <a:gd name="T8" fmla="*/ 1365 w 1365"/>
              <a:gd name="T9" fmla="*/ 1078 h 1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5" h="1324">
                <a:moveTo>
                  <a:pt x="1365" y="1078"/>
                </a:moveTo>
                <a:lnTo>
                  <a:pt x="1339" y="1324"/>
                </a:lnTo>
                <a:lnTo>
                  <a:pt x="180" y="407"/>
                </a:lnTo>
                <a:lnTo>
                  <a:pt x="0" y="0"/>
                </a:lnTo>
                <a:lnTo>
                  <a:pt x="1365" y="107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>
              <a:defRPr/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107" name="Table 107">
            <a:extLst>
              <a:ext uri="{FF2B5EF4-FFF2-40B4-BE49-F238E27FC236}">
                <a16:creationId xmlns:a16="http://schemas.microsoft.com/office/drawing/2014/main" id="{8AF31F89-A8B3-9ADF-1B85-84C1284331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920578"/>
              </p:ext>
            </p:extLst>
          </p:nvPr>
        </p:nvGraphicFramePr>
        <p:xfrm>
          <a:off x="6625946" y="4918371"/>
          <a:ext cx="5408738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881">
                  <a:extLst>
                    <a:ext uri="{9D8B030D-6E8A-4147-A177-3AD203B41FA5}">
                      <a16:colId xmlns:a16="http://schemas.microsoft.com/office/drawing/2014/main" val="132377285"/>
                    </a:ext>
                  </a:extLst>
                </a:gridCol>
                <a:gridCol w="1421812">
                  <a:extLst>
                    <a:ext uri="{9D8B030D-6E8A-4147-A177-3AD203B41FA5}">
                      <a16:colId xmlns:a16="http://schemas.microsoft.com/office/drawing/2014/main" val="4227725714"/>
                    </a:ext>
                  </a:extLst>
                </a:gridCol>
                <a:gridCol w="2191045">
                  <a:extLst>
                    <a:ext uri="{9D8B030D-6E8A-4147-A177-3AD203B41FA5}">
                      <a16:colId xmlns:a16="http://schemas.microsoft.com/office/drawing/2014/main" val="3723914963"/>
                    </a:ext>
                  </a:extLst>
                </a:gridCol>
              </a:tblGrid>
              <a:tr h="219074">
                <a:tc>
                  <a:txBody>
                    <a:bodyPr/>
                    <a:lstStyle/>
                    <a:p>
                      <a:r>
                        <a:rPr lang="en-US" sz="1400" b="1" u="sng">
                          <a:solidFill>
                            <a:schemeClr val="tx1"/>
                          </a:solidFill>
                          <a:latin typeface="Arial"/>
                          <a:cs typeface="Segoe UI"/>
                        </a:rPr>
                        <a:t>Cleaned data: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>
                          <a:solidFill>
                            <a:schemeClr val="tx1"/>
                          </a:solidFill>
                          <a:latin typeface="Arial"/>
                          <a:cs typeface="Segoe UI"/>
                        </a:rPr>
                        <a:t>Till June 201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u="sng">
                          <a:solidFill>
                            <a:schemeClr val="tx1"/>
                          </a:solidFill>
                          <a:latin typeface="Arial"/>
                          <a:cs typeface="Segoe UI"/>
                        </a:rPr>
                        <a:t>Training data(1.5 years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4374942"/>
                  </a:ext>
                </a:extLst>
              </a:tr>
              <a:tr h="125725"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No. of encount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4386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63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6829777"/>
                  </a:ext>
                </a:extLst>
              </a:tr>
              <a:tr h="219074"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No. of pati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98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94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3714578"/>
                  </a:ext>
                </a:extLst>
              </a:tr>
              <a:tr h="219074"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No. of column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latin typeface="Arial"/>
                          <a:cs typeface="Segoe UI"/>
                        </a:rPr>
                        <a:t>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03902"/>
                  </a:ext>
                </a:extLst>
              </a:tr>
            </a:tbl>
          </a:graphicData>
        </a:graphic>
      </p:graphicFrame>
      <p:sp>
        <p:nvSpPr>
          <p:cNvPr id="108" name="Oval 107">
            <a:extLst>
              <a:ext uri="{FF2B5EF4-FFF2-40B4-BE49-F238E27FC236}">
                <a16:creationId xmlns:a16="http://schemas.microsoft.com/office/drawing/2014/main" id="{2A44C15F-E4E8-7E27-A4F0-E9971F20F06D}"/>
              </a:ext>
            </a:extLst>
          </p:cNvPr>
          <p:cNvSpPr/>
          <p:nvPr/>
        </p:nvSpPr>
        <p:spPr>
          <a:xfrm>
            <a:off x="5988253" y="2772603"/>
            <a:ext cx="518410" cy="519585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1F47600C-7BDB-388E-5CE1-F14CDAD9D4CA}"/>
              </a:ext>
            </a:extLst>
          </p:cNvPr>
          <p:cNvSpPr/>
          <p:nvPr/>
        </p:nvSpPr>
        <p:spPr>
          <a:xfrm>
            <a:off x="6004096" y="3927624"/>
            <a:ext cx="518410" cy="519585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1248F1D4-20BE-0E5B-B189-9AFE7A9F1105}"/>
              </a:ext>
            </a:extLst>
          </p:cNvPr>
          <p:cNvSpPr/>
          <p:nvPr/>
        </p:nvSpPr>
        <p:spPr>
          <a:xfrm>
            <a:off x="6004096" y="5305927"/>
            <a:ext cx="518410" cy="519585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639C49-F2BD-BBED-40E8-EC0AF073170A}"/>
              </a:ext>
            </a:extLst>
          </p:cNvPr>
          <p:cNvSpPr txBox="1"/>
          <p:nvPr/>
        </p:nvSpPr>
        <p:spPr>
          <a:xfrm>
            <a:off x="6559517" y="3774002"/>
            <a:ext cx="6236562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b="1"/>
              <a:t>Dropped duplicates and deceased patients:</a:t>
            </a:r>
            <a:endParaRPr lang="en-US" sz="14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No of patients: 98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No of encounters: 46038</a:t>
            </a:r>
            <a:endParaRPr lang="en-US" sz="1400">
              <a:cs typeface="Arial"/>
            </a:endParaRPr>
          </a:p>
          <a:p>
            <a:pPr lvl="0"/>
            <a:endParaRPr lang="en-US" sz="1400"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D3FB84-F087-0CCE-CA24-3F6CC2C3F293}"/>
              </a:ext>
            </a:extLst>
          </p:cNvPr>
          <p:cNvSpPr/>
          <p:nvPr/>
        </p:nvSpPr>
        <p:spPr>
          <a:xfrm rot="18715789">
            <a:off x="165730" y="3479861"/>
            <a:ext cx="4967107" cy="461665"/>
          </a:xfrm>
          <a:prstGeom prst="rect">
            <a:avLst/>
          </a:prstGeom>
          <a:noFill/>
          <a:scene3d>
            <a:camera prst="perspectiveAbove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OLUMNS</a:t>
            </a:r>
            <a:r>
              <a:rPr lang="en-US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925F5C-91BD-632C-A513-E12F82A20A04}"/>
              </a:ext>
            </a:extLst>
          </p:cNvPr>
          <p:cNvSpPr/>
          <p:nvPr/>
        </p:nvSpPr>
        <p:spPr>
          <a:xfrm rot="18728936">
            <a:off x="472180" y="4360253"/>
            <a:ext cx="5207435" cy="461665"/>
          </a:xfrm>
          <a:prstGeom prst="rect">
            <a:avLst/>
          </a:prstGeom>
          <a:noFill/>
          <a:scene3d>
            <a:camera prst="perspectiveAbove"/>
            <a:lightRig rig="threePt" dir="t"/>
          </a:scene3d>
          <a:sp3d>
            <a:bevelT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ROWS</a:t>
            </a:r>
            <a:r>
              <a:rPr lang="en-US" sz="20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AE23AC-253F-F5C4-4BB9-CC88469BA45E}"/>
              </a:ext>
            </a:extLst>
          </p:cNvPr>
          <p:cNvSpPr/>
          <p:nvPr/>
        </p:nvSpPr>
        <p:spPr>
          <a:xfrm rot="4216853">
            <a:off x="1153306" y="3292747"/>
            <a:ext cx="5217049" cy="461665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DROPPED</a:t>
            </a:r>
            <a:endParaRPr lang="en-US" sz="2000" b="1" cap="none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64E0B5-A551-7898-C4EB-16A8DC9DE276}"/>
              </a:ext>
            </a:extLst>
          </p:cNvPr>
          <p:cNvSpPr/>
          <p:nvPr/>
        </p:nvSpPr>
        <p:spPr>
          <a:xfrm rot="4016034">
            <a:off x="1423196" y="4325530"/>
            <a:ext cx="5207435" cy="446276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3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DROPPED</a:t>
            </a:r>
            <a:endParaRPr lang="en-US" sz="2300" b="1" cap="none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D42A2A-D1B3-4BF8-5E93-7A9187DF40A1}"/>
              </a:ext>
            </a:extLst>
          </p:cNvPr>
          <p:cNvSpPr/>
          <p:nvPr/>
        </p:nvSpPr>
        <p:spPr>
          <a:xfrm rot="4308598">
            <a:off x="572577" y="2045014"/>
            <a:ext cx="5207435" cy="584775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DATA</a:t>
            </a:r>
            <a:endParaRPr lang="en-US" sz="3200" b="1" cap="none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F9197A-3FBB-921D-9EBB-601691749BE6}"/>
              </a:ext>
            </a:extLst>
          </p:cNvPr>
          <p:cNvSpPr/>
          <p:nvPr/>
        </p:nvSpPr>
        <p:spPr>
          <a:xfrm rot="18715789">
            <a:off x="-210735" y="2140839"/>
            <a:ext cx="4967107" cy="584775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RAW</a:t>
            </a:r>
            <a:r>
              <a:rPr lang="en-US" sz="32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D760CF-9503-8740-31AC-181E14B7EB22}"/>
              </a:ext>
            </a:extLst>
          </p:cNvPr>
          <p:cNvSpPr/>
          <p:nvPr/>
        </p:nvSpPr>
        <p:spPr>
          <a:xfrm rot="18796235">
            <a:off x="2819270" y="5151994"/>
            <a:ext cx="1469495" cy="398333"/>
          </a:xfrm>
          <a:prstGeom prst="rect">
            <a:avLst/>
          </a:prstGeom>
          <a:noFill/>
          <a:scene3d>
            <a:camera prst="perspectiveAbove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EANED</a:t>
            </a:r>
            <a:r>
              <a:rPr lang="en-US" sz="2000" b="1" cap="none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5417DF-4DD0-207A-8D28-85F638E64A0B}"/>
              </a:ext>
            </a:extLst>
          </p:cNvPr>
          <p:cNvSpPr/>
          <p:nvPr/>
        </p:nvSpPr>
        <p:spPr>
          <a:xfrm rot="4216853">
            <a:off x="2016550" y="5105929"/>
            <a:ext cx="4183140" cy="307777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DATA</a:t>
            </a:r>
            <a:endParaRPr lang="en-US" sz="1400" b="1" cap="none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E44489B4-061C-C6CD-C876-4C2064829A09}"/>
              </a:ext>
            </a:extLst>
          </p:cNvPr>
          <p:cNvSpPr txBox="1">
            <a:spLocks/>
          </p:cNvSpPr>
          <p:nvPr/>
        </p:nvSpPr>
        <p:spPr>
          <a:xfrm>
            <a:off x="3046760" y="6145332"/>
            <a:ext cx="3761560" cy="291597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algn="r" defTabSz="914400" rtl="0" eaLnBrk="1" latinLnBrk="0" hangingPunct="1">
              <a:defRPr sz="1000" b="0" i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provided by HAE team</a:t>
            </a:r>
          </a:p>
        </p:txBody>
      </p:sp>
    </p:spTree>
    <p:extLst>
      <p:ext uri="{BB962C8B-B14F-4D97-AF65-F5344CB8AC3E}">
        <p14:creationId xmlns:p14="http://schemas.microsoft.com/office/powerpoint/2010/main" val="335084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954E858-C7E7-3D45-9BFA-1781D04D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164744"/>
            <a:ext cx="11263311" cy="876299"/>
          </a:xfrm>
        </p:spPr>
        <p:txBody>
          <a:bodyPr/>
          <a:lstStyle/>
          <a:p>
            <a:r>
              <a:rPr lang="en-US" b="1"/>
              <a:t>Yearly IP Pati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F3B5B-C6D2-5842-A4BE-D4550B9465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7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4859C-F73F-9A4C-9108-CE54C87BDE5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59097" y="1386195"/>
            <a:ext cx="3817042" cy="2957206"/>
          </a:xfrm>
        </p:spPr>
        <p:txBody>
          <a:bodyPr vert="horz" lIns="0" tIns="0" rIns="0" bIns="0" rtlCol="0" anchor="t">
            <a:noAutofit/>
          </a:bodyPr>
          <a:lstStyle/>
          <a:p>
            <a:pPr lvl="1">
              <a:lnSpc>
                <a:spcPct val="100000"/>
              </a:lnSpc>
            </a:pPr>
            <a:r>
              <a:rPr lang="en-US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:</a:t>
            </a:r>
          </a:p>
          <a:p>
            <a:pPr lvl="1">
              <a:lnSpc>
                <a:spcPct val="100000"/>
              </a:lnSpc>
            </a:pPr>
            <a:endParaRPr lang="en-US" sz="2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Percentage of inpatients visiting  hospital ranges from 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2% to 5%</a:t>
            </a:r>
            <a:r>
              <a:rPr lang="en-US" sz="1600" b="0">
                <a:solidFill>
                  <a:schemeClr val="tx1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.</a:t>
            </a:r>
            <a:endParaRPr lang="en-US" sz="16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ea typeface="Verdana"/>
              </a:rPr>
              <a:t>Similar to the real-world percentage range of </a:t>
            </a:r>
            <a:r>
              <a:rPr lang="en-US" sz="1600" b="1">
                <a:latin typeface="Arial" panose="020B0604020202020204" pitchFamily="34" charset="0"/>
                <a:ea typeface="Verdana"/>
              </a:rPr>
              <a:t>2% to 8%</a:t>
            </a:r>
            <a:r>
              <a:rPr lang="en-US" sz="1600">
                <a:latin typeface="Arial" panose="020B0604020202020204" pitchFamily="34" charset="0"/>
                <a:ea typeface="Verdana"/>
              </a:rPr>
              <a:t>.</a:t>
            </a:r>
          </a:p>
        </p:txBody>
      </p:sp>
      <p:pic>
        <p:nvPicPr>
          <p:cNvPr id="10" name="Picture 10" descr="A graph with numbers and a red line&#10;&#10;Description automatically generated">
            <a:extLst>
              <a:ext uri="{FF2B5EF4-FFF2-40B4-BE49-F238E27FC236}">
                <a16:creationId xmlns:a16="http://schemas.microsoft.com/office/drawing/2014/main" id="{A1EBDF93-28A1-0F16-9736-9F697592000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/>
          <a:srcRect l="69" r="464"/>
          <a:stretch/>
        </p:blipFill>
        <p:spPr>
          <a:xfrm>
            <a:off x="461962" y="1307212"/>
            <a:ext cx="7329893" cy="46945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6461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9" descr="A graph with numbers and a red line&#10;&#10;Description automatically generated">
            <a:extLst>
              <a:ext uri="{FF2B5EF4-FFF2-40B4-BE49-F238E27FC236}">
                <a16:creationId xmlns:a16="http://schemas.microsoft.com/office/drawing/2014/main" id="{E2BC185D-8202-82BF-D83C-7F6F01A064F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r="256" b="748"/>
          <a:stretch/>
        </p:blipFill>
        <p:spPr>
          <a:xfrm>
            <a:off x="538750" y="1435510"/>
            <a:ext cx="4455471" cy="45981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057E977-7BE5-0847-915E-FE271C10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2" y="22227"/>
            <a:ext cx="12909793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Inpatients’ Gender and Age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D39E7-8ADE-1C41-9A5A-0DEECF6A15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8</a:t>
            </a:fld>
            <a:endParaRPr lang="en-US"/>
          </a:p>
        </p:txBody>
      </p:sp>
      <p:pic>
        <p:nvPicPr>
          <p:cNvPr id="9" name="Picture 9" descr="A graph with numbers and a line&#10;&#10;Description automatically generated">
            <a:extLst>
              <a:ext uri="{FF2B5EF4-FFF2-40B4-BE49-F238E27FC236}">
                <a16:creationId xmlns:a16="http://schemas.microsoft.com/office/drawing/2014/main" id="{A93EDF4C-9B6D-93CF-F590-9DE5D2B8E88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/>
          <a:srcRect l="-119" r="-119" b="287"/>
          <a:stretch/>
        </p:blipFill>
        <p:spPr>
          <a:xfrm>
            <a:off x="5574891" y="1435510"/>
            <a:ext cx="6201163" cy="45981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4499B1-A0BE-DDF5-E022-B5326ADA44B7}"/>
              </a:ext>
            </a:extLst>
          </p:cNvPr>
          <p:cNvSpPr txBox="1"/>
          <p:nvPr/>
        </p:nvSpPr>
        <p:spPr>
          <a:xfrm>
            <a:off x="347415" y="1007273"/>
            <a:ext cx="47358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2000" b="1"/>
              <a:t>GEN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341635-594F-491F-0701-7A40813E82B3}"/>
              </a:ext>
            </a:extLst>
          </p:cNvPr>
          <p:cNvSpPr txBox="1"/>
          <p:nvPr/>
        </p:nvSpPr>
        <p:spPr>
          <a:xfrm>
            <a:off x="6094412" y="991600"/>
            <a:ext cx="47358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2000" b="1"/>
              <a:t>AGE GROUP</a:t>
            </a:r>
          </a:p>
        </p:txBody>
      </p:sp>
    </p:spTree>
    <p:extLst>
      <p:ext uri="{BB962C8B-B14F-4D97-AF65-F5344CB8AC3E}">
        <p14:creationId xmlns:p14="http://schemas.microsoft.com/office/powerpoint/2010/main" val="391911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A graph with numbers and a red line&#10;&#10;Description automatically generated">
            <a:extLst>
              <a:ext uri="{FF2B5EF4-FFF2-40B4-BE49-F238E27FC236}">
                <a16:creationId xmlns:a16="http://schemas.microsoft.com/office/drawing/2014/main" id="{8A4E5224-F2A2-FEFD-AADE-516DA09AF25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r="-154" b="200"/>
          <a:stretch/>
        </p:blipFill>
        <p:spPr>
          <a:xfrm>
            <a:off x="347415" y="1570394"/>
            <a:ext cx="4962004" cy="45369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057E977-7BE5-0847-915E-FE271C10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167" y="0"/>
            <a:ext cx="11263311" cy="876299"/>
          </a:xfrm>
        </p:spPr>
        <p:txBody>
          <a:bodyPr/>
          <a:lstStyle/>
          <a:p>
            <a:r>
              <a:rPr lang="en-US" b="1">
                <a:latin typeface="Garamond"/>
              </a:rPr>
              <a:t>Inpatients’ Ethnicity &amp; Race</a:t>
            </a:r>
            <a:endParaRPr lang="en-US" b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D39E7-8ADE-1C41-9A5A-0DEECF6A15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9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4F3697-62C6-114F-6F7F-9C45458760FD}"/>
              </a:ext>
            </a:extLst>
          </p:cNvPr>
          <p:cNvSpPr txBox="1"/>
          <p:nvPr/>
        </p:nvSpPr>
        <p:spPr>
          <a:xfrm>
            <a:off x="347415" y="1085339"/>
            <a:ext cx="47358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2000" b="1"/>
              <a:t>ETHNIC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C01702-B83F-63F4-3FF5-0C1C2277D84B}"/>
              </a:ext>
            </a:extLst>
          </p:cNvPr>
          <p:cNvSpPr txBox="1"/>
          <p:nvPr/>
        </p:nvSpPr>
        <p:spPr>
          <a:xfrm>
            <a:off x="5629958" y="1109136"/>
            <a:ext cx="60945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n-US" sz="2000" b="1"/>
              <a:t>RACE</a:t>
            </a:r>
          </a:p>
        </p:txBody>
      </p:sp>
      <p:pic>
        <p:nvPicPr>
          <p:cNvPr id="2" name="Picture 3" descr="A graph with numbers and symbols&#10;&#10;Description automatically generated">
            <a:extLst>
              <a:ext uri="{FF2B5EF4-FFF2-40B4-BE49-F238E27FC236}">
                <a16:creationId xmlns:a16="http://schemas.microsoft.com/office/drawing/2014/main" id="{D1FD387D-BB4D-A483-16AE-B2DB3C255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523" y="1570394"/>
            <a:ext cx="5535562" cy="45369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99392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PRVD">
      <a:dk1>
        <a:srgbClr val="000000"/>
      </a:dk1>
      <a:lt1>
        <a:srgbClr val="FFFFFF"/>
      </a:lt1>
      <a:dk2>
        <a:srgbClr val="595959"/>
      </a:dk2>
      <a:lt2>
        <a:srgbClr val="E7E6E6"/>
      </a:lt2>
      <a:accent1>
        <a:srgbClr val="00338E"/>
      </a:accent1>
      <a:accent2>
        <a:srgbClr val="38892F"/>
      </a:accent2>
      <a:accent3>
        <a:srgbClr val="EAE5D0"/>
      </a:accent3>
      <a:accent4>
        <a:srgbClr val="988C7E"/>
      </a:accent4>
      <a:accent5>
        <a:srgbClr val="71243A"/>
      </a:accent5>
      <a:accent6>
        <a:srgbClr val="D59A5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marL="0" indent="0" algn="l">
          <a:lnSpc>
            <a:spcPts val="2100"/>
          </a:lnSpc>
          <a:spcAft>
            <a:spcPts val="900"/>
          </a:spcAft>
          <a:defRPr sz="18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vd_ppt_16x9_201203" id="{AB9263DF-B9EA-1745-97D9-1C7E8FE3557E}" vid="{EBD72F54-FCF4-E143-9ECE-1561704B374E}"/>
    </a:ext>
  </a:extLst>
</a:theme>
</file>

<file path=ppt/theme/theme2.xml><?xml version="1.0" encoding="utf-8"?>
<a:theme xmlns:a="http://schemas.openxmlformats.org/drawingml/2006/main" name="Office Theme">
  <a:themeElements>
    <a:clrScheme name="PRVD">
      <a:dk1>
        <a:srgbClr val="000000"/>
      </a:dk1>
      <a:lt1>
        <a:srgbClr val="FFFFFF"/>
      </a:lt1>
      <a:dk2>
        <a:srgbClr val="595959"/>
      </a:dk2>
      <a:lt2>
        <a:srgbClr val="E7E6E6"/>
      </a:lt2>
      <a:accent1>
        <a:srgbClr val="00338E"/>
      </a:accent1>
      <a:accent2>
        <a:srgbClr val="38892F"/>
      </a:accent2>
      <a:accent3>
        <a:srgbClr val="EAE5D0"/>
      </a:accent3>
      <a:accent4>
        <a:srgbClr val="988C7E"/>
      </a:accent4>
      <a:accent5>
        <a:srgbClr val="71243A"/>
      </a:accent5>
      <a:accent6>
        <a:srgbClr val="D59A5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marL="0" indent="0" algn="l">
          <a:lnSpc>
            <a:spcPts val="2100"/>
          </a:lnSpc>
          <a:spcAft>
            <a:spcPts val="900"/>
          </a:spcAft>
          <a:defRPr sz="1800" b="0" i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vd_ppt_16x9_201203" id="{AB9263DF-B9EA-1745-97D9-1C7E8FE3557E}" vid="{EBD72F54-FCF4-E143-9ECE-1561704B374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7d06cef-af93-4fdc-afd0-38c7b0a1e5de">
      <Terms xmlns="http://schemas.microsoft.com/office/infopath/2007/PartnerControls"/>
    </lcf76f155ced4ddcb4097134ff3c332f>
    <TaxCatchAll xmlns="91a4fd6b-c007-41cf-9aac-d1eaba93b28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708D21CBBB814F96C134861C007206" ma:contentTypeVersion="15" ma:contentTypeDescription="Create a new document." ma:contentTypeScope="" ma:versionID="1b269b5c893f1198954b624b7152b158">
  <xsd:schema xmlns:xsd="http://www.w3.org/2001/XMLSchema" xmlns:xs="http://www.w3.org/2001/XMLSchema" xmlns:p="http://schemas.microsoft.com/office/2006/metadata/properties" xmlns:ns2="87d06cef-af93-4fdc-afd0-38c7b0a1e5de" xmlns:ns3="91a4fd6b-c007-41cf-9aac-d1eaba93b28e" targetNamespace="http://schemas.microsoft.com/office/2006/metadata/properties" ma:root="true" ma:fieldsID="3092c3b545da5b52bcdfe8b1cd79599b" ns2:_="" ns3:_="">
    <xsd:import namespace="87d06cef-af93-4fdc-afd0-38c7b0a1e5de"/>
    <xsd:import namespace="91a4fd6b-c007-41cf-9aac-d1eaba93b2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d06cef-af93-4fdc-afd0-38c7b0a1e5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898b932-ec87-4f6e-a380-e59be69e9f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a4fd6b-c007-41cf-9aac-d1eaba93b2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bae6f94-b40c-433a-b7e4-d68b4c803a47}" ma:internalName="TaxCatchAll" ma:showField="CatchAllData" ma:web="91a4fd6b-c007-41cf-9aac-d1eaba93b2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84E80B-BE4B-47DE-829D-78F9730EE5D1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87d06cef-af93-4fdc-afd0-38c7b0a1e5de"/>
    <ds:schemaRef ds:uri="http://schemas.microsoft.com/office/2006/documentManagement/types"/>
    <ds:schemaRef ds:uri="http://purl.org/dc/terms/"/>
    <ds:schemaRef ds:uri="91a4fd6b-c007-41cf-9aac-d1eaba93b28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AD29EF2-70C1-4F41-8538-2A9E76D732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ABF792-D2E5-4E72-8CF4-EAAD63EEEA15}">
  <ds:schemaRefs>
    <ds:schemaRef ds:uri="87d06cef-af93-4fdc-afd0-38c7b0a1e5de"/>
    <ds:schemaRef ds:uri="91a4fd6b-c007-41cf-9aac-d1eaba93b2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ascale_Final Presentation Template</Template>
  <TotalTime>9</TotalTime>
  <Words>1300</Words>
  <Application>Microsoft Office PowerPoint</Application>
  <PresentationFormat>Custom</PresentationFormat>
  <Paragraphs>401</Paragraphs>
  <Slides>32</Slides>
  <Notes>5</Notes>
  <HiddenSlides>1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Arial,Sans-Serif</vt:lpstr>
      <vt:lpstr>Calibri</vt:lpstr>
      <vt:lpstr>Courier New</vt:lpstr>
      <vt:lpstr>Garamond</vt:lpstr>
      <vt:lpstr>Segoe UI</vt:lpstr>
      <vt:lpstr>Office Theme</vt:lpstr>
      <vt:lpstr>Office Theme</vt:lpstr>
      <vt:lpstr>PowerPoint Presentation</vt:lpstr>
      <vt:lpstr>Agenda</vt:lpstr>
      <vt:lpstr>Journey of our Internship</vt:lpstr>
      <vt:lpstr>Problem Statement</vt:lpstr>
      <vt:lpstr>Methodology</vt:lpstr>
      <vt:lpstr>Data Summary</vt:lpstr>
      <vt:lpstr>Yearly IP Patients</vt:lpstr>
      <vt:lpstr>Inpatients’ Gender and Age Group</vt:lpstr>
      <vt:lpstr>Inpatients’ Ethnicity &amp; Race</vt:lpstr>
      <vt:lpstr>Inpatients’ County-Wise</vt:lpstr>
      <vt:lpstr>Air Quality of Patients’ Localities</vt:lpstr>
      <vt:lpstr>Top Historic Diseases</vt:lpstr>
      <vt:lpstr>Top Historic Procedures</vt:lpstr>
      <vt:lpstr>Visit Pattern</vt:lpstr>
      <vt:lpstr>Major Diseases for Ambulatory to Inpatient Transfer</vt:lpstr>
      <vt:lpstr>Model Results (XGBoost)</vt:lpstr>
      <vt:lpstr>Feature Importance</vt:lpstr>
      <vt:lpstr>Causal Explanation</vt:lpstr>
      <vt:lpstr>Value Added</vt:lpstr>
      <vt:lpstr>PowerPoint Presentation</vt:lpstr>
      <vt:lpstr>Thank you!</vt:lpstr>
      <vt:lpstr>Q&amp;A</vt:lpstr>
      <vt:lpstr>TOP PROCEDURES FOR IP PATIENTS – IP Patient history</vt:lpstr>
      <vt:lpstr>METHODOLOGY</vt:lpstr>
      <vt:lpstr>Learnings</vt:lpstr>
      <vt:lpstr>Problem Overview</vt:lpstr>
      <vt:lpstr>Proposed Solution</vt:lpstr>
      <vt:lpstr>TIMELINE</vt:lpstr>
      <vt:lpstr>Timeline of our learning</vt:lpstr>
      <vt:lpstr>Learnings</vt:lpstr>
      <vt:lpstr>Causal Explanation</vt:lpstr>
      <vt:lpstr>Causal Explan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il, Shruti</dc:creator>
  <cp:lastModifiedBy>Rath, Raghav</cp:lastModifiedBy>
  <cp:revision>3</cp:revision>
  <cp:lastPrinted>2020-01-27T22:16:08Z</cp:lastPrinted>
  <dcterms:created xsi:type="dcterms:W3CDTF">2023-04-18T07:52:21Z</dcterms:created>
  <dcterms:modified xsi:type="dcterms:W3CDTF">2023-07-26T17:0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708D21CBBB814F96C134861C007206</vt:lpwstr>
  </property>
</Properties>
</file>